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85" r:id="rId1"/>
    <p:sldMasterId id="2147483697" r:id="rId2"/>
  </p:sldMasterIdLst>
  <p:notesMasterIdLst>
    <p:notesMasterId r:id="rId18"/>
  </p:notes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45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2CA7D2-D104-4D3C-A1AF-AB55F37E5E43}" type="doc">
      <dgm:prSet loTypeId="urn:microsoft.com/office/officeart/2005/8/layout/radial6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sl-SI"/>
        </a:p>
      </dgm:t>
    </dgm:pt>
    <dgm:pt modelId="{747846BA-6AAC-407C-B4BB-94A5E066B48D}">
      <dgm:prSet phldrT="[besedil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sl-SI" sz="2800" b="1" dirty="0" smtClean="0">
              <a:solidFill>
                <a:schemeClr val="tx1"/>
              </a:solidFill>
            </a:rPr>
            <a:t>Ukrepi</a:t>
          </a:r>
          <a:endParaRPr lang="sl-SI" sz="2800" b="1" dirty="0">
            <a:solidFill>
              <a:schemeClr val="tx1"/>
            </a:solidFill>
          </a:endParaRPr>
        </a:p>
      </dgm:t>
    </dgm:pt>
    <dgm:pt modelId="{AFDCAC6B-4E21-4A08-B64A-5B76D58ADDE8}" type="parTrans" cxnId="{B5A32DE6-2592-42FD-A1CE-B321C038B120}">
      <dgm:prSet/>
      <dgm:spPr/>
      <dgm:t>
        <a:bodyPr/>
        <a:lstStyle/>
        <a:p>
          <a:endParaRPr lang="sl-SI" sz="1100"/>
        </a:p>
      </dgm:t>
    </dgm:pt>
    <dgm:pt modelId="{DFDFC49A-32F9-44F7-976B-B48E3D32E8A6}" type="sibTrans" cxnId="{B5A32DE6-2592-42FD-A1CE-B321C038B120}">
      <dgm:prSet/>
      <dgm:spPr/>
      <dgm:t>
        <a:bodyPr/>
        <a:lstStyle/>
        <a:p>
          <a:endParaRPr lang="sl-SI" sz="1100"/>
        </a:p>
      </dgm:t>
    </dgm:pt>
    <dgm:pt modelId="{EB881D07-FE52-4E24-897F-13010FB9C81C}">
      <dgm:prSet phldrT="[besedil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sl-SI" sz="1100" b="1" dirty="0" smtClean="0">
              <a:solidFill>
                <a:schemeClr val="tx1"/>
              </a:solidFill>
            </a:rPr>
            <a:t>Elektronska izmenjava med partnerji</a:t>
          </a:r>
          <a:endParaRPr lang="sl-SI" sz="1100" b="1" dirty="0">
            <a:solidFill>
              <a:schemeClr val="tx1"/>
            </a:solidFill>
          </a:endParaRPr>
        </a:p>
      </dgm:t>
    </dgm:pt>
    <dgm:pt modelId="{12ED8785-A413-402C-AAFF-AD635AB48272}" type="parTrans" cxnId="{ADE1BA32-16DC-4582-8C77-485DCE087363}">
      <dgm:prSet/>
      <dgm:spPr/>
      <dgm:t>
        <a:bodyPr/>
        <a:lstStyle/>
        <a:p>
          <a:endParaRPr lang="sl-SI" sz="1100"/>
        </a:p>
      </dgm:t>
    </dgm:pt>
    <dgm:pt modelId="{CE2CF0EB-CDAB-40C6-86B8-33D3065D6A13}" type="sibTrans" cxnId="{ADE1BA32-16DC-4582-8C77-485DCE087363}">
      <dgm:prSet/>
      <dgm:spPr/>
      <dgm:t>
        <a:bodyPr/>
        <a:lstStyle/>
        <a:p>
          <a:endParaRPr lang="sl-SI" sz="1100"/>
        </a:p>
      </dgm:t>
    </dgm:pt>
    <dgm:pt modelId="{B9D88D99-79B4-455D-BCFD-DBA75423F8F0}">
      <dgm:prSet phldrT="[besedil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sl-SI" sz="1100" b="1" dirty="0" smtClean="0">
              <a:solidFill>
                <a:schemeClr val="tx1"/>
              </a:solidFill>
            </a:rPr>
            <a:t>Digitalizacija nastopov na sejmih</a:t>
          </a:r>
          <a:endParaRPr lang="sl-SI" sz="1100" b="1" dirty="0">
            <a:solidFill>
              <a:schemeClr val="tx1"/>
            </a:solidFill>
          </a:endParaRPr>
        </a:p>
      </dgm:t>
    </dgm:pt>
    <dgm:pt modelId="{0ED4FD30-FF06-4ECE-B0F2-17E896033530}" type="parTrans" cxnId="{B4CB0536-8691-4FDA-93C5-63E2B5DA5CA3}">
      <dgm:prSet/>
      <dgm:spPr/>
      <dgm:t>
        <a:bodyPr/>
        <a:lstStyle/>
        <a:p>
          <a:endParaRPr lang="sl-SI" sz="1100"/>
        </a:p>
      </dgm:t>
    </dgm:pt>
    <dgm:pt modelId="{238FFCCD-E07B-450A-B83A-CD11DD35988A}" type="sibTrans" cxnId="{B4CB0536-8691-4FDA-93C5-63E2B5DA5CA3}">
      <dgm:prSet/>
      <dgm:spPr/>
      <dgm:t>
        <a:bodyPr/>
        <a:lstStyle/>
        <a:p>
          <a:endParaRPr lang="sl-SI" sz="1100"/>
        </a:p>
      </dgm:t>
    </dgm:pt>
    <dgm:pt modelId="{4BA800DF-FA54-4A00-ACB6-447B9301E005}">
      <dgm:prSet phldrT="[besedil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sl-SI" sz="1100" b="1" dirty="0" smtClean="0">
              <a:solidFill>
                <a:schemeClr val="tx1"/>
              </a:solidFill>
            </a:rPr>
            <a:t>Spletne strani za tuje trge</a:t>
          </a:r>
          <a:endParaRPr lang="sl-SI" sz="1100" b="1" dirty="0">
            <a:solidFill>
              <a:schemeClr val="tx1"/>
            </a:solidFill>
          </a:endParaRPr>
        </a:p>
      </dgm:t>
    </dgm:pt>
    <dgm:pt modelId="{AEF647F0-3821-42AF-8E8F-C4D0B165408E}" type="parTrans" cxnId="{E3E3A3F3-1517-44DD-A21D-3DD6A2630ADB}">
      <dgm:prSet/>
      <dgm:spPr/>
      <dgm:t>
        <a:bodyPr/>
        <a:lstStyle/>
        <a:p>
          <a:endParaRPr lang="sl-SI" sz="1100"/>
        </a:p>
      </dgm:t>
    </dgm:pt>
    <dgm:pt modelId="{04136438-0477-4477-8A73-460FFB9D83C2}" type="sibTrans" cxnId="{E3E3A3F3-1517-44DD-A21D-3DD6A2630ADB}">
      <dgm:prSet/>
      <dgm:spPr/>
      <dgm:t>
        <a:bodyPr/>
        <a:lstStyle/>
        <a:p>
          <a:endParaRPr lang="sl-SI" sz="1100"/>
        </a:p>
      </dgm:t>
    </dgm:pt>
    <dgm:pt modelId="{94AC5E03-628C-4C16-A95F-1ECC0AED27A2}">
      <dgm:prSet phldrT="[besedil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sl-SI" sz="1100" b="1" dirty="0" smtClean="0">
              <a:solidFill>
                <a:schemeClr val="tx1"/>
              </a:solidFill>
            </a:rPr>
            <a:t>Spletne trgovine</a:t>
          </a:r>
          <a:endParaRPr lang="sl-SI" sz="1100" b="1" dirty="0">
            <a:solidFill>
              <a:schemeClr val="tx1"/>
            </a:solidFill>
          </a:endParaRPr>
        </a:p>
      </dgm:t>
    </dgm:pt>
    <dgm:pt modelId="{702B5724-8898-446C-8AFE-5CA2CD064E8A}" type="parTrans" cxnId="{BA8185C8-D54D-4E7B-8F34-584829142CB5}">
      <dgm:prSet/>
      <dgm:spPr/>
      <dgm:t>
        <a:bodyPr/>
        <a:lstStyle/>
        <a:p>
          <a:endParaRPr lang="sl-SI" sz="1100"/>
        </a:p>
      </dgm:t>
    </dgm:pt>
    <dgm:pt modelId="{BBA3C90B-5FE5-485A-91AA-9E04F996C846}" type="sibTrans" cxnId="{BA8185C8-D54D-4E7B-8F34-584829142CB5}">
      <dgm:prSet/>
      <dgm:spPr/>
      <dgm:t>
        <a:bodyPr/>
        <a:lstStyle/>
        <a:p>
          <a:endParaRPr lang="sl-SI" sz="1100"/>
        </a:p>
      </dgm:t>
    </dgm:pt>
    <dgm:pt modelId="{A4A82451-3631-4164-97CE-3658E1786B49}">
      <dgm:prSet phldrT="[besedil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sl-SI" sz="1100" b="1" dirty="0" smtClean="0">
              <a:solidFill>
                <a:schemeClr val="tx1"/>
              </a:solidFill>
            </a:rPr>
            <a:t>Produktno-prodajni video</a:t>
          </a:r>
          <a:endParaRPr lang="sl-SI" sz="1100" b="1" dirty="0">
            <a:solidFill>
              <a:schemeClr val="tx1"/>
            </a:solidFill>
          </a:endParaRPr>
        </a:p>
      </dgm:t>
    </dgm:pt>
    <dgm:pt modelId="{82A8C08E-54B9-400C-B773-AFABF731238B}" type="parTrans" cxnId="{35A8EB56-F093-407C-8073-F5317E6C361B}">
      <dgm:prSet/>
      <dgm:spPr/>
      <dgm:t>
        <a:bodyPr/>
        <a:lstStyle/>
        <a:p>
          <a:endParaRPr lang="sl-SI" sz="1100"/>
        </a:p>
      </dgm:t>
    </dgm:pt>
    <dgm:pt modelId="{587F5289-5D43-43AE-853C-A6FCA4009682}" type="sibTrans" cxnId="{35A8EB56-F093-407C-8073-F5317E6C361B}">
      <dgm:prSet/>
      <dgm:spPr/>
      <dgm:t>
        <a:bodyPr/>
        <a:lstStyle/>
        <a:p>
          <a:endParaRPr lang="sl-SI" sz="1100"/>
        </a:p>
      </dgm:t>
    </dgm:pt>
    <dgm:pt modelId="{E0C2CAD8-A0AB-445B-BAF9-1C36B4E80A4B}">
      <dgm:prSet phldrT="[besedilo]" custT="1"/>
      <dgm:spPr>
        <a:ln>
          <a:solidFill>
            <a:schemeClr val="accent1">
              <a:lumMod val="75000"/>
            </a:schemeClr>
          </a:solidFill>
        </a:ln>
      </dgm:spPr>
      <dgm:t>
        <a:bodyPr/>
        <a:lstStyle/>
        <a:p>
          <a:r>
            <a:rPr lang="sl-SI" sz="1100" b="1" dirty="0" smtClean="0">
              <a:solidFill>
                <a:schemeClr val="tx1"/>
              </a:solidFill>
            </a:rPr>
            <a:t>Krepitev kompetenc-usposabljanja</a:t>
          </a:r>
          <a:endParaRPr lang="sl-SI" sz="1100" b="1" dirty="0">
            <a:solidFill>
              <a:schemeClr val="tx1"/>
            </a:solidFill>
          </a:endParaRPr>
        </a:p>
      </dgm:t>
    </dgm:pt>
    <dgm:pt modelId="{63617BCE-416C-4FFC-9FE5-7F8B0B8EB475}" type="parTrans" cxnId="{67DD93CA-40CD-4845-A873-63442F55CECF}">
      <dgm:prSet/>
      <dgm:spPr/>
      <dgm:t>
        <a:bodyPr/>
        <a:lstStyle/>
        <a:p>
          <a:endParaRPr lang="sl-SI" sz="1100"/>
        </a:p>
      </dgm:t>
    </dgm:pt>
    <dgm:pt modelId="{F6744C3F-7E24-4F0B-8C92-970AAACB9534}" type="sibTrans" cxnId="{67DD93CA-40CD-4845-A873-63442F55CECF}">
      <dgm:prSet/>
      <dgm:spPr/>
      <dgm:t>
        <a:bodyPr/>
        <a:lstStyle/>
        <a:p>
          <a:endParaRPr lang="sl-SI" sz="1100"/>
        </a:p>
      </dgm:t>
    </dgm:pt>
    <dgm:pt modelId="{682E19C9-565E-47EC-9FB3-AD5EDB509E95}" type="pres">
      <dgm:prSet presAssocID="{6B2CA7D2-D104-4D3C-A1AF-AB55F37E5E43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sl-SI"/>
        </a:p>
      </dgm:t>
    </dgm:pt>
    <dgm:pt modelId="{3A5C604E-D72A-4798-B43F-FEC5E1F07C45}" type="pres">
      <dgm:prSet presAssocID="{747846BA-6AAC-407C-B4BB-94A5E066B48D}" presName="centerShape" presStyleLbl="node0" presStyleIdx="0" presStyleCnt="1"/>
      <dgm:spPr/>
      <dgm:t>
        <a:bodyPr/>
        <a:lstStyle/>
        <a:p>
          <a:endParaRPr lang="sl-SI"/>
        </a:p>
      </dgm:t>
    </dgm:pt>
    <dgm:pt modelId="{F0ED634F-146F-40B8-AA1C-BED1C74DAF34}" type="pres">
      <dgm:prSet presAssocID="{EB881D07-FE52-4E24-897F-13010FB9C81C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75E695D2-014A-4B9E-9F45-B33252F8E122}" type="pres">
      <dgm:prSet presAssocID="{EB881D07-FE52-4E24-897F-13010FB9C81C}" presName="dummy" presStyleCnt="0"/>
      <dgm:spPr/>
    </dgm:pt>
    <dgm:pt modelId="{4E9327D0-EB29-4183-8845-AF01101AEDE7}" type="pres">
      <dgm:prSet presAssocID="{CE2CF0EB-CDAB-40C6-86B8-33D3065D6A13}" presName="sibTrans" presStyleLbl="sibTrans2D1" presStyleIdx="0" presStyleCnt="6"/>
      <dgm:spPr/>
      <dgm:t>
        <a:bodyPr/>
        <a:lstStyle/>
        <a:p>
          <a:endParaRPr lang="sl-SI"/>
        </a:p>
      </dgm:t>
    </dgm:pt>
    <dgm:pt modelId="{B930555B-7B12-494F-9006-62C1D5DDFE5D}" type="pres">
      <dgm:prSet presAssocID="{B9D88D99-79B4-455D-BCFD-DBA75423F8F0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157F9142-C0ED-4FBB-B715-8450A726F60C}" type="pres">
      <dgm:prSet presAssocID="{B9D88D99-79B4-455D-BCFD-DBA75423F8F0}" presName="dummy" presStyleCnt="0"/>
      <dgm:spPr/>
    </dgm:pt>
    <dgm:pt modelId="{4615EE4C-6C94-41A6-9947-7D8EE60D33C4}" type="pres">
      <dgm:prSet presAssocID="{238FFCCD-E07B-450A-B83A-CD11DD35988A}" presName="sibTrans" presStyleLbl="sibTrans2D1" presStyleIdx="1" presStyleCnt="6"/>
      <dgm:spPr/>
      <dgm:t>
        <a:bodyPr/>
        <a:lstStyle/>
        <a:p>
          <a:endParaRPr lang="sl-SI"/>
        </a:p>
      </dgm:t>
    </dgm:pt>
    <dgm:pt modelId="{30518F3C-2AF9-4C78-9F1D-D122AFE83D9C}" type="pres">
      <dgm:prSet presAssocID="{4BA800DF-FA54-4A00-ACB6-447B9301E005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BC8ACD60-3464-45AA-9274-F5BC5BFA9700}" type="pres">
      <dgm:prSet presAssocID="{4BA800DF-FA54-4A00-ACB6-447B9301E005}" presName="dummy" presStyleCnt="0"/>
      <dgm:spPr/>
    </dgm:pt>
    <dgm:pt modelId="{5698F342-ABBD-4CE7-98EF-E4A24A302169}" type="pres">
      <dgm:prSet presAssocID="{04136438-0477-4477-8A73-460FFB9D83C2}" presName="sibTrans" presStyleLbl="sibTrans2D1" presStyleIdx="2" presStyleCnt="6"/>
      <dgm:spPr/>
      <dgm:t>
        <a:bodyPr/>
        <a:lstStyle/>
        <a:p>
          <a:endParaRPr lang="sl-SI"/>
        </a:p>
      </dgm:t>
    </dgm:pt>
    <dgm:pt modelId="{3BF0F9E2-FC22-4726-9FE2-09EACF4AB436}" type="pres">
      <dgm:prSet presAssocID="{94AC5E03-628C-4C16-A95F-1ECC0AED27A2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6744B85F-A730-4194-9EAB-3E0961A54DCB}" type="pres">
      <dgm:prSet presAssocID="{94AC5E03-628C-4C16-A95F-1ECC0AED27A2}" presName="dummy" presStyleCnt="0"/>
      <dgm:spPr/>
    </dgm:pt>
    <dgm:pt modelId="{BA0E0811-3C6C-405D-B3CE-CFB0C9568518}" type="pres">
      <dgm:prSet presAssocID="{BBA3C90B-5FE5-485A-91AA-9E04F996C846}" presName="sibTrans" presStyleLbl="sibTrans2D1" presStyleIdx="3" presStyleCnt="6"/>
      <dgm:spPr/>
      <dgm:t>
        <a:bodyPr/>
        <a:lstStyle/>
        <a:p>
          <a:endParaRPr lang="sl-SI"/>
        </a:p>
      </dgm:t>
    </dgm:pt>
    <dgm:pt modelId="{B8784F6E-6F14-43D8-A0CB-45EA7F0F2704}" type="pres">
      <dgm:prSet presAssocID="{A4A82451-3631-4164-97CE-3658E1786B49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6D52B04E-D41D-4103-85FF-B0A20390F10A}" type="pres">
      <dgm:prSet presAssocID="{A4A82451-3631-4164-97CE-3658E1786B49}" presName="dummy" presStyleCnt="0"/>
      <dgm:spPr/>
    </dgm:pt>
    <dgm:pt modelId="{2CD8ECCD-1CA8-4EAA-BA13-5BA23EC37453}" type="pres">
      <dgm:prSet presAssocID="{587F5289-5D43-43AE-853C-A6FCA4009682}" presName="sibTrans" presStyleLbl="sibTrans2D1" presStyleIdx="4" presStyleCnt="6"/>
      <dgm:spPr/>
      <dgm:t>
        <a:bodyPr/>
        <a:lstStyle/>
        <a:p>
          <a:endParaRPr lang="sl-SI"/>
        </a:p>
      </dgm:t>
    </dgm:pt>
    <dgm:pt modelId="{BD7448EB-4713-4578-A2ED-245D39E2FF22}" type="pres">
      <dgm:prSet presAssocID="{E0C2CAD8-A0AB-445B-BAF9-1C36B4E80A4B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sl-SI"/>
        </a:p>
      </dgm:t>
    </dgm:pt>
    <dgm:pt modelId="{04DD52C6-0128-4CF4-A14F-F8374C562FBB}" type="pres">
      <dgm:prSet presAssocID="{E0C2CAD8-A0AB-445B-BAF9-1C36B4E80A4B}" presName="dummy" presStyleCnt="0"/>
      <dgm:spPr/>
    </dgm:pt>
    <dgm:pt modelId="{D2AF0CA5-9E6B-45D8-AA2E-A868EDF8FCBF}" type="pres">
      <dgm:prSet presAssocID="{F6744C3F-7E24-4F0B-8C92-970AAACB9534}" presName="sibTrans" presStyleLbl="sibTrans2D1" presStyleIdx="5" presStyleCnt="6"/>
      <dgm:spPr/>
      <dgm:t>
        <a:bodyPr/>
        <a:lstStyle/>
        <a:p>
          <a:endParaRPr lang="sl-SI"/>
        </a:p>
      </dgm:t>
    </dgm:pt>
  </dgm:ptLst>
  <dgm:cxnLst>
    <dgm:cxn modelId="{554F62AD-106C-4B59-973D-23C40B28A6ED}" type="presOf" srcId="{F6744C3F-7E24-4F0B-8C92-970AAACB9534}" destId="{D2AF0CA5-9E6B-45D8-AA2E-A868EDF8FCBF}" srcOrd="0" destOrd="0" presId="urn:microsoft.com/office/officeart/2005/8/layout/radial6"/>
    <dgm:cxn modelId="{32553B89-6EC2-46A8-90D9-4169AED5127F}" type="presOf" srcId="{CE2CF0EB-CDAB-40C6-86B8-33D3065D6A13}" destId="{4E9327D0-EB29-4183-8845-AF01101AEDE7}" srcOrd="0" destOrd="0" presId="urn:microsoft.com/office/officeart/2005/8/layout/radial6"/>
    <dgm:cxn modelId="{D633384B-1F0F-4574-AF76-B09E62283869}" type="presOf" srcId="{A4A82451-3631-4164-97CE-3658E1786B49}" destId="{B8784F6E-6F14-43D8-A0CB-45EA7F0F2704}" srcOrd="0" destOrd="0" presId="urn:microsoft.com/office/officeart/2005/8/layout/radial6"/>
    <dgm:cxn modelId="{08580979-8CBF-44B7-AC33-398ABCCA159F}" type="presOf" srcId="{6B2CA7D2-D104-4D3C-A1AF-AB55F37E5E43}" destId="{682E19C9-565E-47EC-9FB3-AD5EDB509E95}" srcOrd="0" destOrd="0" presId="urn:microsoft.com/office/officeart/2005/8/layout/radial6"/>
    <dgm:cxn modelId="{CF96526D-404C-4D57-B47B-F0332523C51B}" type="presOf" srcId="{587F5289-5D43-43AE-853C-A6FCA4009682}" destId="{2CD8ECCD-1CA8-4EAA-BA13-5BA23EC37453}" srcOrd="0" destOrd="0" presId="urn:microsoft.com/office/officeart/2005/8/layout/radial6"/>
    <dgm:cxn modelId="{A78FE2ED-7B46-40F8-9504-B0878C8FB793}" type="presOf" srcId="{238FFCCD-E07B-450A-B83A-CD11DD35988A}" destId="{4615EE4C-6C94-41A6-9947-7D8EE60D33C4}" srcOrd="0" destOrd="0" presId="urn:microsoft.com/office/officeart/2005/8/layout/radial6"/>
    <dgm:cxn modelId="{0769FB13-EE29-4902-892B-C233F707B11F}" type="presOf" srcId="{B9D88D99-79B4-455D-BCFD-DBA75423F8F0}" destId="{B930555B-7B12-494F-9006-62C1D5DDFE5D}" srcOrd="0" destOrd="0" presId="urn:microsoft.com/office/officeart/2005/8/layout/radial6"/>
    <dgm:cxn modelId="{67DD93CA-40CD-4845-A873-63442F55CECF}" srcId="{747846BA-6AAC-407C-B4BB-94A5E066B48D}" destId="{E0C2CAD8-A0AB-445B-BAF9-1C36B4E80A4B}" srcOrd="5" destOrd="0" parTransId="{63617BCE-416C-4FFC-9FE5-7F8B0B8EB475}" sibTransId="{F6744C3F-7E24-4F0B-8C92-970AAACB9534}"/>
    <dgm:cxn modelId="{ADE1BA32-16DC-4582-8C77-485DCE087363}" srcId="{747846BA-6AAC-407C-B4BB-94A5E066B48D}" destId="{EB881D07-FE52-4E24-897F-13010FB9C81C}" srcOrd="0" destOrd="0" parTransId="{12ED8785-A413-402C-AAFF-AD635AB48272}" sibTransId="{CE2CF0EB-CDAB-40C6-86B8-33D3065D6A13}"/>
    <dgm:cxn modelId="{28468CF7-A5F9-440E-978D-43FDA4D7D2EE}" type="presOf" srcId="{4BA800DF-FA54-4A00-ACB6-447B9301E005}" destId="{30518F3C-2AF9-4C78-9F1D-D122AFE83D9C}" srcOrd="0" destOrd="0" presId="urn:microsoft.com/office/officeart/2005/8/layout/radial6"/>
    <dgm:cxn modelId="{1EA0AC58-6D26-4E07-8370-CB31E9172F1D}" type="presOf" srcId="{E0C2CAD8-A0AB-445B-BAF9-1C36B4E80A4B}" destId="{BD7448EB-4713-4578-A2ED-245D39E2FF22}" srcOrd="0" destOrd="0" presId="urn:microsoft.com/office/officeart/2005/8/layout/radial6"/>
    <dgm:cxn modelId="{7B96354C-85E8-43A6-8179-B3AB9B4857A1}" type="presOf" srcId="{BBA3C90B-5FE5-485A-91AA-9E04F996C846}" destId="{BA0E0811-3C6C-405D-B3CE-CFB0C9568518}" srcOrd="0" destOrd="0" presId="urn:microsoft.com/office/officeart/2005/8/layout/radial6"/>
    <dgm:cxn modelId="{B4CB0536-8691-4FDA-93C5-63E2B5DA5CA3}" srcId="{747846BA-6AAC-407C-B4BB-94A5E066B48D}" destId="{B9D88D99-79B4-455D-BCFD-DBA75423F8F0}" srcOrd="1" destOrd="0" parTransId="{0ED4FD30-FF06-4ECE-B0F2-17E896033530}" sibTransId="{238FFCCD-E07B-450A-B83A-CD11DD35988A}"/>
    <dgm:cxn modelId="{16EAF4E2-F3DE-4D4B-92DC-3E25FA199E50}" type="presOf" srcId="{04136438-0477-4477-8A73-460FFB9D83C2}" destId="{5698F342-ABBD-4CE7-98EF-E4A24A302169}" srcOrd="0" destOrd="0" presId="urn:microsoft.com/office/officeart/2005/8/layout/radial6"/>
    <dgm:cxn modelId="{F516361C-7DF0-4E62-8E70-970229A720AB}" type="presOf" srcId="{EB881D07-FE52-4E24-897F-13010FB9C81C}" destId="{F0ED634F-146F-40B8-AA1C-BED1C74DAF34}" srcOrd="0" destOrd="0" presId="urn:microsoft.com/office/officeart/2005/8/layout/radial6"/>
    <dgm:cxn modelId="{B5A32DE6-2592-42FD-A1CE-B321C038B120}" srcId="{6B2CA7D2-D104-4D3C-A1AF-AB55F37E5E43}" destId="{747846BA-6AAC-407C-B4BB-94A5E066B48D}" srcOrd="0" destOrd="0" parTransId="{AFDCAC6B-4E21-4A08-B64A-5B76D58ADDE8}" sibTransId="{DFDFC49A-32F9-44F7-976B-B48E3D32E8A6}"/>
    <dgm:cxn modelId="{159DD0A1-100A-4CA2-9A29-F27F6116755A}" type="presOf" srcId="{747846BA-6AAC-407C-B4BB-94A5E066B48D}" destId="{3A5C604E-D72A-4798-B43F-FEC5E1F07C45}" srcOrd="0" destOrd="0" presId="urn:microsoft.com/office/officeart/2005/8/layout/radial6"/>
    <dgm:cxn modelId="{F7C829AD-EF11-41CB-A3CF-C2FF8E9BA6F5}" type="presOf" srcId="{94AC5E03-628C-4C16-A95F-1ECC0AED27A2}" destId="{3BF0F9E2-FC22-4726-9FE2-09EACF4AB436}" srcOrd="0" destOrd="0" presId="urn:microsoft.com/office/officeart/2005/8/layout/radial6"/>
    <dgm:cxn modelId="{35A8EB56-F093-407C-8073-F5317E6C361B}" srcId="{747846BA-6AAC-407C-B4BB-94A5E066B48D}" destId="{A4A82451-3631-4164-97CE-3658E1786B49}" srcOrd="4" destOrd="0" parTransId="{82A8C08E-54B9-400C-B773-AFABF731238B}" sibTransId="{587F5289-5D43-43AE-853C-A6FCA4009682}"/>
    <dgm:cxn modelId="{BA8185C8-D54D-4E7B-8F34-584829142CB5}" srcId="{747846BA-6AAC-407C-B4BB-94A5E066B48D}" destId="{94AC5E03-628C-4C16-A95F-1ECC0AED27A2}" srcOrd="3" destOrd="0" parTransId="{702B5724-8898-446C-8AFE-5CA2CD064E8A}" sibTransId="{BBA3C90B-5FE5-485A-91AA-9E04F996C846}"/>
    <dgm:cxn modelId="{E3E3A3F3-1517-44DD-A21D-3DD6A2630ADB}" srcId="{747846BA-6AAC-407C-B4BB-94A5E066B48D}" destId="{4BA800DF-FA54-4A00-ACB6-447B9301E005}" srcOrd="2" destOrd="0" parTransId="{AEF647F0-3821-42AF-8E8F-C4D0B165408E}" sibTransId="{04136438-0477-4477-8A73-460FFB9D83C2}"/>
    <dgm:cxn modelId="{CED42E0A-9AF2-4200-B041-B398DCCC92DF}" type="presParOf" srcId="{682E19C9-565E-47EC-9FB3-AD5EDB509E95}" destId="{3A5C604E-D72A-4798-B43F-FEC5E1F07C45}" srcOrd="0" destOrd="0" presId="urn:microsoft.com/office/officeart/2005/8/layout/radial6"/>
    <dgm:cxn modelId="{5FDBF7F6-9BDA-46D8-A71F-AE225D593739}" type="presParOf" srcId="{682E19C9-565E-47EC-9FB3-AD5EDB509E95}" destId="{F0ED634F-146F-40B8-AA1C-BED1C74DAF34}" srcOrd="1" destOrd="0" presId="urn:microsoft.com/office/officeart/2005/8/layout/radial6"/>
    <dgm:cxn modelId="{D511CA8E-6272-44B7-80B8-181408DBC7CC}" type="presParOf" srcId="{682E19C9-565E-47EC-9FB3-AD5EDB509E95}" destId="{75E695D2-014A-4B9E-9F45-B33252F8E122}" srcOrd="2" destOrd="0" presId="urn:microsoft.com/office/officeart/2005/8/layout/radial6"/>
    <dgm:cxn modelId="{E5A4F38D-8072-4C3B-87E9-96E6F51B50A1}" type="presParOf" srcId="{682E19C9-565E-47EC-9FB3-AD5EDB509E95}" destId="{4E9327D0-EB29-4183-8845-AF01101AEDE7}" srcOrd="3" destOrd="0" presId="urn:microsoft.com/office/officeart/2005/8/layout/radial6"/>
    <dgm:cxn modelId="{A32EFD8A-1154-45AA-B455-8DABB6BFC22E}" type="presParOf" srcId="{682E19C9-565E-47EC-9FB3-AD5EDB509E95}" destId="{B930555B-7B12-494F-9006-62C1D5DDFE5D}" srcOrd="4" destOrd="0" presId="urn:microsoft.com/office/officeart/2005/8/layout/radial6"/>
    <dgm:cxn modelId="{56574A72-1E88-4753-A12E-8987431BC8BF}" type="presParOf" srcId="{682E19C9-565E-47EC-9FB3-AD5EDB509E95}" destId="{157F9142-C0ED-4FBB-B715-8450A726F60C}" srcOrd="5" destOrd="0" presId="urn:microsoft.com/office/officeart/2005/8/layout/radial6"/>
    <dgm:cxn modelId="{CAB2054D-6271-4CA1-A030-0F38BDEAACE3}" type="presParOf" srcId="{682E19C9-565E-47EC-9FB3-AD5EDB509E95}" destId="{4615EE4C-6C94-41A6-9947-7D8EE60D33C4}" srcOrd="6" destOrd="0" presId="urn:microsoft.com/office/officeart/2005/8/layout/radial6"/>
    <dgm:cxn modelId="{80F0F31C-3D9D-4882-B646-A940A9F9E117}" type="presParOf" srcId="{682E19C9-565E-47EC-9FB3-AD5EDB509E95}" destId="{30518F3C-2AF9-4C78-9F1D-D122AFE83D9C}" srcOrd="7" destOrd="0" presId="urn:microsoft.com/office/officeart/2005/8/layout/radial6"/>
    <dgm:cxn modelId="{6B4CBA9B-50A2-4A94-A9DC-AD1DB818C5D5}" type="presParOf" srcId="{682E19C9-565E-47EC-9FB3-AD5EDB509E95}" destId="{BC8ACD60-3464-45AA-9274-F5BC5BFA9700}" srcOrd="8" destOrd="0" presId="urn:microsoft.com/office/officeart/2005/8/layout/radial6"/>
    <dgm:cxn modelId="{86949CB2-17F1-42D1-9715-AB6A8B343C7D}" type="presParOf" srcId="{682E19C9-565E-47EC-9FB3-AD5EDB509E95}" destId="{5698F342-ABBD-4CE7-98EF-E4A24A302169}" srcOrd="9" destOrd="0" presId="urn:microsoft.com/office/officeart/2005/8/layout/radial6"/>
    <dgm:cxn modelId="{6854FA47-CF52-4BD4-A648-3A64532ADD52}" type="presParOf" srcId="{682E19C9-565E-47EC-9FB3-AD5EDB509E95}" destId="{3BF0F9E2-FC22-4726-9FE2-09EACF4AB436}" srcOrd="10" destOrd="0" presId="urn:microsoft.com/office/officeart/2005/8/layout/radial6"/>
    <dgm:cxn modelId="{08797CBF-C5F8-4193-B3D9-6B47701E8A4B}" type="presParOf" srcId="{682E19C9-565E-47EC-9FB3-AD5EDB509E95}" destId="{6744B85F-A730-4194-9EAB-3E0961A54DCB}" srcOrd="11" destOrd="0" presId="urn:microsoft.com/office/officeart/2005/8/layout/radial6"/>
    <dgm:cxn modelId="{BCCCE697-616C-481E-945F-92D7C0F78B28}" type="presParOf" srcId="{682E19C9-565E-47EC-9FB3-AD5EDB509E95}" destId="{BA0E0811-3C6C-405D-B3CE-CFB0C9568518}" srcOrd="12" destOrd="0" presId="urn:microsoft.com/office/officeart/2005/8/layout/radial6"/>
    <dgm:cxn modelId="{F9975A61-90CD-4359-B49C-E7DC4CD7BBFE}" type="presParOf" srcId="{682E19C9-565E-47EC-9FB3-AD5EDB509E95}" destId="{B8784F6E-6F14-43D8-A0CB-45EA7F0F2704}" srcOrd="13" destOrd="0" presId="urn:microsoft.com/office/officeart/2005/8/layout/radial6"/>
    <dgm:cxn modelId="{7934A2A6-75A8-4C86-A75A-C623585FBC0B}" type="presParOf" srcId="{682E19C9-565E-47EC-9FB3-AD5EDB509E95}" destId="{6D52B04E-D41D-4103-85FF-B0A20390F10A}" srcOrd="14" destOrd="0" presId="urn:microsoft.com/office/officeart/2005/8/layout/radial6"/>
    <dgm:cxn modelId="{8EE38796-C164-468F-8F7A-6C77A4B42835}" type="presParOf" srcId="{682E19C9-565E-47EC-9FB3-AD5EDB509E95}" destId="{2CD8ECCD-1CA8-4EAA-BA13-5BA23EC37453}" srcOrd="15" destOrd="0" presId="urn:microsoft.com/office/officeart/2005/8/layout/radial6"/>
    <dgm:cxn modelId="{8356818B-F868-4301-8ECF-0689C6324AEB}" type="presParOf" srcId="{682E19C9-565E-47EC-9FB3-AD5EDB509E95}" destId="{BD7448EB-4713-4578-A2ED-245D39E2FF22}" srcOrd="16" destOrd="0" presId="urn:microsoft.com/office/officeart/2005/8/layout/radial6"/>
    <dgm:cxn modelId="{6F95157D-BB6C-4411-BA6D-0FA05B41E6D0}" type="presParOf" srcId="{682E19C9-565E-47EC-9FB3-AD5EDB509E95}" destId="{04DD52C6-0128-4CF4-A14F-F8374C562FBB}" srcOrd="17" destOrd="0" presId="urn:microsoft.com/office/officeart/2005/8/layout/radial6"/>
    <dgm:cxn modelId="{DCEE1539-6176-47C7-B123-29E6D61BB264}" type="presParOf" srcId="{682E19C9-565E-47EC-9FB3-AD5EDB509E95}" destId="{D2AF0CA5-9E6B-45D8-AA2E-A868EDF8FCBF}" srcOrd="18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2AF0CA5-9E6B-45D8-AA2E-A868EDF8FCBF}">
      <dsp:nvSpPr>
        <dsp:cNvPr id="0" name=""/>
        <dsp:cNvSpPr/>
      </dsp:nvSpPr>
      <dsp:spPr>
        <a:xfrm>
          <a:off x="1466197" y="549551"/>
          <a:ext cx="3765268" cy="3765268"/>
        </a:xfrm>
        <a:prstGeom prst="blockArc">
          <a:avLst>
            <a:gd name="adj1" fmla="val 12600000"/>
            <a:gd name="adj2" fmla="val 16200000"/>
            <a:gd name="adj3" fmla="val 451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D8ECCD-1CA8-4EAA-BA13-5BA23EC37453}">
      <dsp:nvSpPr>
        <dsp:cNvPr id="0" name=""/>
        <dsp:cNvSpPr/>
      </dsp:nvSpPr>
      <dsp:spPr>
        <a:xfrm>
          <a:off x="1466197" y="549551"/>
          <a:ext cx="3765268" cy="3765268"/>
        </a:xfrm>
        <a:prstGeom prst="blockArc">
          <a:avLst>
            <a:gd name="adj1" fmla="val 9000000"/>
            <a:gd name="adj2" fmla="val 12600000"/>
            <a:gd name="adj3" fmla="val 451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A0E0811-3C6C-405D-B3CE-CFB0C9568518}">
      <dsp:nvSpPr>
        <dsp:cNvPr id="0" name=""/>
        <dsp:cNvSpPr/>
      </dsp:nvSpPr>
      <dsp:spPr>
        <a:xfrm>
          <a:off x="1466197" y="549551"/>
          <a:ext cx="3765268" cy="3765268"/>
        </a:xfrm>
        <a:prstGeom prst="blockArc">
          <a:avLst>
            <a:gd name="adj1" fmla="val 5400000"/>
            <a:gd name="adj2" fmla="val 9000000"/>
            <a:gd name="adj3" fmla="val 451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98F342-ABBD-4CE7-98EF-E4A24A302169}">
      <dsp:nvSpPr>
        <dsp:cNvPr id="0" name=""/>
        <dsp:cNvSpPr/>
      </dsp:nvSpPr>
      <dsp:spPr>
        <a:xfrm>
          <a:off x="1466197" y="549551"/>
          <a:ext cx="3765268" cy="3765268"/>
        </a:xfrm>
        <a:prstGeom prst="blockArc">
          <a:avLst>
            <a:gd name="adj1" fmla="val 1800000"/>
            <a:gd name="adj2" fmla="val 5400000"/>
            <a:gd name="adj3" fmla="val 451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615EE4C-6C94-41A6-9947-7D8EE60D33C4}">
      <dsp:nvSpPr>
        <dsp:cNvPr id="0" name=""/>
        <dsp:cNvSpPr/>
      </dsp:nvSpPr>
      <dsp:spPr>
        <a:xfrm>
          <a:off x="1466197" y="549551"/>
          <a:ext cx="3765268" cy="3765268"/>
        </a:xfrm>
        <a:prstGeom prst="blockArc">
          <a:avLst>
            <a:gd name="adj1" fmla="val 19800000"/>
            <a:gd name="adj2" fmla="val 1800000"/>
            <a:gd name="adj3" fmla="val 451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9327D0-EB29-4183-8845-AF01101AEDE7}">
      <dsp:nvSpPr>
        <dsp:cNvPr id="0" name=""/>
        <dsp:cNvSpPr/>
      </dsp:nvSpPr>
      <dsp:spPr>
        <a:xfrm>
          <a:off x="1466197" y="549551"/>
          <a:ext cx="3765268" cy="3765268"/>
        </a:xfrm>
        <a:prstGeom prst="blockArc">
          <a:avLst>
            <a:gd name="adj1" fmla="val 16200000"/>
            <a:gd name="adj2" fmla="val 19800000"/>
            <a:gd name="adj3" fmla="val 4518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5C604E-D72A-4798-B43F-FEC5E1F07C45}">
      <dsp:nvSpPr>
        <dsp:cNvPr id="0" name=""/>
        <dsp:cNvSpPr/>
      </dsp:nvSpPr>
      <dsp:spPr>
        <a:xfrm>
          <a:off x="2505082" y="1588437"/>
          <a:ext cx="1687497" cy="168749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2800" b="1" kern="1200" dirty="0" smtClean="0">
              <a:solidFill>
                <a:schemeClr val="tx1"/>
              </a:solidFill>
            </a:rPr>
            <a:t>Ukrepi</a:t>
          </a:r>
          <a:endParaRPr lang="sl-SI" sz="2800" b="1" kern="1200" dirty="0">
            <a:solidFill>
              <a:schemeClr val="tx1"/>
            </a:solidFill>
          </a:endParaRPr>
        </a:p>
      </dsp:txBody>
      <dsp:txXfrm>
        <a:off x="2752210" y="1835565"/>
        <a:ext cx="1193241" cy="1193241"/>
      </dsp:txXfrm>
    </dsp:sp>
    <dsp:sp modelId="{F0ED634F-146F-40B8-AA1C-BED1C74DAF34}">
      <dsp:nvSpPr>
        <dsp:cNvPr id="0" name=""/>
        <dsp:cNvSpPr/>
      </dsp:nvSpPr>
      <dsp:spPr>
        <a:xfrm>
          <a:off x="2758207" y="1452"/>
          <a:ext cx="1181247" cy="118124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1100" b="1" kern="1200" dirty="0" smtClean="0">
              <a:solidFill>
                <a:schemeClr val="tx1"/>
              </a:solidFill>
            </a:rPr>
            <a:t>Elektronska izmenjava med partnerji</a:t>
          </a:r>
          <a:endParaRPr lang="sl-SI" sz="1100" b="1" kern="1200" dirty="0">
            <a:solidFill>
              <a:schemeClr val="tx1"/>
            </a:solidFill>
          </a:endParaRPr>
        </a:p>
      </dsp:txBody>
      <dsp:txXfrm>
        <a:off x="2931197" y="174442"/>
        <a:ext cx="835267" cy="835267"/>
      </dsp:txXfrm>
    </dsp:sp>
    <dsp:sp modelId="{B930555B-7B12-494F-9006-62C1D5DDFE5D}">
      <dsp:nvSpPr>
        <dsp:cNvPr id="0" name=""/>
        <dsp:cNvSpPr/>
      </dsp:nvSpPr>
      <dsp:spPr>
        <a:xfrm>
          <a:off x="4351788" y="921507"/>
          <a:ext cx="1181247" cy="118124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1100" b="1" kern="1200" dirty="0" smtClean="0">
              <a:solidFill>
                <a:schemeClr val="tx1"/>
              </a:solidFill>
            </a:rPr>
            <a:t>Digitalizacija nastopov na sejmih</a:t>
          </a:r>
          <a:endParaRPr lang="sl-SI" sz="1100" b="1" kern="1200" dirty="0">
            <a:solidFill>
              <a:schemeClr val="tx1"/>
            </a:solidFill>
          </a:endParaRPr>
        </a:p>
      </dsp:txBody>
      <dsp:txXfrm>
        <a:off x="4524778" y="1094497"/>
        <a:ext cx="835267" cy="835267"/>
      </dsp:txXfrm>
    </dsp:sp>
    <dsp:sp modelId="{30518F3C-2AF9-4C78-9F1D-D122AFE83D9C}">
      <dsp:nvSpPr>
        <dsp:cNvPr id="0" name=""/>
        <dsp:cNvSpPr/>
      </dsp:nvSpPr>
      <dsp:spPr>
        <a:xfrm>
          <a:off x="4351788" y="2761616"/>
          <a:ext cx="1181247" cy="118124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1100" b="1" kern="1200" dirty="0" smtClean="0">
              <a:solidFill>
                <a:schemeClr val="tx1"/>
              </a:solidFill>
            </a:rPr>
            <a:t>Spletne strani za tuje trge</a:t>
          </a:r>
          <a:endParaRPr lang="sl-SI" sz="1100" b="1" kern="1200" dirty="0">
            <a:solidFill>
              <a:schemeClr val="tx1"/>
            </a:solidFill>
          </a:endParaRPr>
        </a:p>
      </dsp:txBody>
      <dsp:txXfrm>
        <a:off x="4524778" y="2934606"/>
        <a:ext cx="835267" cy="835267"/>
      </dsp:txXfrm>
    </dsp:sp>
    <dsp:sp modelId="{3BF0F9E2-FC22-4726-9FE2-09EACF4AB436}">
      <dsp:nvSpPr>
        <dsp:cNvPr id="0" name=""/>
        <dsp:cNvSpPr/>
      </dsp:nvSpPr>
      <dsp:spPr>
        <a:xfrm>
          <a:off x="2758207" y="3681671"/>
          <a:ext cx="1181247" cy="118124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1100" b="1" kern="1200" dirty="0" smtClean="0">
              <a:solidFill>
                <a:schemeClr val="tx1"/>
              </a:solidFill>
            </a:rPr>
            <a:t>Spletne trgovine</a:t>
          </a:r>
          <a:endParaRPr lang="sl-SI" sz="1100" b="1" kern="1200" dirty="0">
            <a:solidFill>
              <a:schemeClr val="tx1"/>
            </a:solidFill>
          </a:endParaRPr>
        </a:p>
      </dsp:txBody>
      <dsp:txXfrm>
        <a:off x="2931197" y="3854661"/>
        <a:ext cx="835267" cy="835267"/>
      </dsp:txXfrm>
    </dsp:sp>
    <dsp:sp modelId="{B8784F6E-6F14-43D8-A0CB-45EA7F0F2704}">
      <dsp:nvSpPr>
        <dsp:cNvPr id="0" name=""/>
        <dsp:cNvSpPr/>
      </dsp:nvSpPr>
      <dsp:spPr>
        <a:xfrm>
          <a:off x="1164626" y="2761616"/>
          <a:ext cx="1181247" cy="118124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1100" b="1" kern="1200" dirty="0" smtClean="0">
              <a:solidFill>
                <a:schemeClr val="tx1"/>
              </a:solidFill>
            </a:rPr>
            <a:t>Produktno-prodajni video</a:t>
          </a:r>
          <a:endParaRPr lang="sl-SI" sz="1100" b="1" kern="1200" dirty="0">
            <a:solidFill>
              <a:schemeClr val="tx1"/>
            </a:solidFill>
          </a:endParaRPr>
        </a:p>
      </dsp:txBody>
      <dsp:txXfrm>
        <a:off x="1337616" y="2934606"/>
        <a:ext cx="835267" cy="835267"/>
      </dsp:txXfrm>
    </dsp:sp>
    <dsp:sp modelId="{BD7448EB-4713-4578-A2ED-245D39E2FF22}">
      <dsp:nvSpPr>
        <dsp:cNvPr id="0" name=""/>
        <dsp:cNvSpPr/>
      </dsp:nvSpPr>
      <dsp:spPr>
        <a:xfrm>
          <a:off x="1164626" y="921507"/>
          <a:ext cx="1181247" cy="118124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7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sl-SI" sz="1100" b="1" kern="1200" dirty="0" smtClean="0">
              <a:solidFill>
                <a:schemeClr val="tx1"/>
              </a:solidFill>
            </a:rPr>
            <a:t>Krepitev kompetenc-usposabljanja</a:t>
          </a:r>
          <a:endParaRPr lang="sl-SI" sz="1100" b="1" kern="1200" dirty="0">
            <a:solidFill>
              <a:schemeClr val="tx1"/>
            </a:solidFill>
          </a:endParaRPr>
        </a:p>
      </dsp:txBody>
      <dsp:txXfrm>
        <a:off x="1337616" y="1094497"/>
        <a:ext cx="835267" cy="8352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glav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3" name="Označba mesta datum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B7D977-65ED-4BD5-9696-D6EE6DE8A6CB}" type="datetimeFigureOut">
              <a:rPr lang="sl-SI" smtClean="0"/>
              <a:t>6. 09. 2017</a:t>
            </a:fld>
            <a:endParaRPr lang="sl-SI"/>
          </a:p>
        </p:txBody>
      </p:sp>
      <p:sp>
        <p:nvSpPr>
          <p:cNvPr id="4" name="Označba mesta stranske slik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l-SI"/>
          </a:p>
        </p:txBody>
      </p:sp>
      <p:sp>
        <p:nvSpPr>
          <p:cNvPr id="5" name="Označba mesta opomb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sl-SI"/>
          </a:p>
        </p:txBody>
      </p:sp>
      <p:sp>
        <p:nvSpPr>
          <p:cNvPr id="6" name="Označba mesta no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l-SI"/>
          </a:p>
        </p:txBody>
      </p:sp>
      <p:sp>
        <p:nvSpPr>
          <p:cNvPr id="7" name="Označba mesta številke diapoz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068FA1-68E2-478A-ACEA-34D8F4588FC0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379982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318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617857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23205694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31302930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571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32289822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776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24501046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981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19815903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185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20891855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523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461316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728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641562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933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10338575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137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35938323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342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14395999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547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12102038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36480855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957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sl-SI" altLang="sl-SI" smtClean="0"/>
          </a:p>
        </p:txBody>
      </p:sp>
    </p:spTree>
    <p:extLst>
      <p:ext uri="{BB962C8B-B14F-4D97-AF65-F5344CB8AC3E}">
        <p14:creationId xmlns:p14="http://schemas.microsoft.com/office/powerpoint/2010/main" val="2413687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2.xml"/><Relationship Id="rId11" Type="http://schemas.openxmlformats.org/officeDocument/2006/relationships/hyperlink" Target="http://www.atkearney.com/" TargetMode="External"/><Relationship Id="rId5" Type="http://schemas.openxmlformats.org/officeDocument/2006/relationships/tags" Target="../tags/tag8.xml"/><Relationship Id="rId10" Type="http://schemas.openxmlformats.org/officeDocument/2006/relationships/image" Target="../media/image5.jpeg"/><Relationship Id="rId4" Type="http://schemas.openxmlformats.org/officeDocument/2006/relationships/tags" Target="../tags/tag7.xml"/><Relationship Id="rId9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0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6E3CBE0-36A5-4072-B5A6-59DAA409F3E0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E7AA597-2AC3-4855-B57C-C28B032812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676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91B5E19-BD7E-43E9-BEBB-CC360E991041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8381179E-E421-4C9B-B2D2-D433543487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15485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BCF97BA-3D61-4130-BC2F-39C6A6197F9C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C48785A-773C-487F-ABB9-1EB9C86DE9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5177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.T. Kearney CoverWhit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4"/>
          <p:cNvCxnSpPr/>
          <p:nvPr>
            <p:custDataLst>
              <p:tags r:id="rId1"/>
            </p:custDataLst>
          </p:nvPr>
        </p:nvCxnSpPr>
        <p:spPr>
          <a:xfrm>
            <a:off x="0" y="3548063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0" descr="Red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 Placeholder 13"/>
          <p:cNvSpPr>
            <a:spLocks noGrp="1"/>
          </p:cNvSpPr>
          <p:nvPr>
            <p:ph type="body" sz="quarter" idx="16"/>
          </p:nvPr>
        </p:nvSpPr>
        <p:spPr>
          <a:xfrm>
            <a:off x="244800" y="6353323"/>
            <a:ext cx="3311525" cy="193899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rtlCol="0"/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l-SI" smtClean="0"/>
              <a:t>Uredite slog naslova matrice</a:t>
            </a:r>
            <a:endParaRPr lang="de-DE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l-SI" smtClean="0"/>
              <a:t>Uredite slog podnaslova matr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39309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Disclaim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39692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.T. Kearney TitleAndText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sl-SI" smtClean="0"/>
              <a:t>Uredite slog naslova matric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sl-SI" smtClean="0"/>
              <a:t>Uredite sloge besedila matrice</a:t>
            </a:r>
          </a:p>
          <a:p>
            <a:pPr lvl="1"/>
            <a:r>
              <a:rPr lang="sl-SI" smtClean="0"/>
              <a:t>Druga raven</a:t>
            </a:r>
          </a:p>
          <a:p>
            <a:pPr lvl="2"/>
            <a:r>
              <a:rPr lang="sl-SI" smtClean="0"/>
              <a:t>Tretja raven</a:t>
            </a:r>
          </a:p>
          <a:p>
            <a:pPr lvl="3"/>
            <a:r>
              <a:rPr lang="sl-SI" smtClean="0"/>
              <a:t>Četrta raven</a:t>
            </a:r>
          </a:p>
          <a:p>
            <a:pPr lvl="4"/>
            <a:r>
              <a:rPr lang="sl-SI" smtClean="0"/>
              <a:t>Peta rav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1881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.T. Kearney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13"/>
          <p:cNvSpPr txBox="1">
            <a:spLocks noChangeArrowheads="1"/>
          </p:cNvSpPr>
          <p:nvPr/>
        </p:nvSpPr>
        <p:spPr bwMode="auto">
          <a:xfrm>
            <a:off x="8045450" y="6610350"/>
            <a:ext cx="603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800" smtClean="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5" name="TextBox 14"/>
          <p:cNvSpPr txBox="1">
            <a:spLocks noChangeArrowheads="1"/>
          </p:cNvSpPr>
          <p:nvPr/>
        </p:nvSpPr>
        <p:spPr bwMode="auto">
          <a:xfrm>
            <a:off x="8642350" y="6594475"/>
            <a:ext cx="26511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93092567-3D61-467E-A77A-DC8617CFF331}" type="slidenum">
              <a:rPr lang="en-US" altLang="sl-SI" sz="900" smtClean="0">
                <a:solidFill>
                  <a:srgbClr val="ADABA1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sl-SI" sz="900" smtClean="0">
              <a:solidFill>
                <a:srgbClr val="ADABA1"/>
              </a:solidFill>
            </a:endParaRPr>
          </a:p>
        </p:txBody>
      </p:sp>
      <p:pic>
        <p:nvPicPr>
          <p:cNvPr id="6" name="Picture 12" descr="White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0675"/>
            <a:ext cx="91440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sl-SI" smtClean="0"/>
              <a:t>Uredite slog naslova matr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85356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.T. Kearney Divider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sl-SI" smtClean="0"/>
              <a:t>Uredite sloge besedila matric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sl-SI" smtClean="0"/>
              <a:t>Uredite slog naslova matr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1071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.T. Kearney ClosingPage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13"/>
          <p:cNvSpPr txBox="1">
            <a:spLocks noChangeArrowheads="1"/>
          </p:cNvSpPr>
          <p:nvPr/>
        </p:nvSpPr>
        <p:spPr bwMode="auto">
          <a:xfrm>
            <a:off x="8045450" y="6610350"/>
            <a:ext cx="603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800" smtClean="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4" name="TextBox 14"/>
          <p:cNvSpPr txBox="1">
            <a:spLocks noChangeArrowheads="1"/>
          </p:cNvSpPr>
          <p:nvPr/>
        </p:nvSpPr>
        <p:spPr bwMode="auto">
          <a:xfrm>
            <a:off x="8642350" y="6594475"/>
            <a:ext cx="26511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907DD95A-C68C-4F64-81E9-535799D48A83}" type="slidenum">
              <a:rPr lang="en-US" altLang="sl-SI" sz="900" smtClean="0">
                <a:solidFill>
                  <a:srgbClr val="ADABA1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sl-SI" sz="900" smtClean="0">
              <a:solidFill>
                <a:srgbClr val="ADABA1"/>
              </a:solidFill>
            </a:endParaRPr>
          </a:p>
        </p:txBody>
      </p:sp>
      <p:pic>
        <p:nvPicPr>
          <p:cNvPr id="5" name="Picture 12" descr="White1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0675"/>
            <a:ext cx="91440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006_Sig-for-last-page.jp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8"/>
          <a:stretch>
            <a:fillRect/>
          </a:stretch>
        </p:blipFill>
        <p:spPr bwMode="auto">
          <a:xfrm>
            <a:off x="0" y="4630738"/>
            <a:ext cx="9107488" cy="2227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3"/>
          <p:cNvCxnSpPr/>
          <p:nvPr>
            <p:custDataLst>
              <p:tags r:id="rId3"/>
            </p:custDataLst>
          </p:nvPr>
        </p:nvCxnSpPr>
        <p:spPr>
          <a:xfrm>
            <a:off x="0" y="1627188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le 4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244475" y="2924175"/>
          <a:ext cx="8640760" cy="197326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  <a:gridCol w="1080095">
                  <a:extLst>
                    <a:ext uri="{9D8B030D-6E8A-4147-A177-3AD203B41FA5}"/>
                  </a:extLst>
                </a:gridCol>
              </a:tblGrid>
              <a:tr h="42345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b="1" dirty="0">
                          <a:latin typeface="Arial"/>
                        </a:rPr>
                        <a:t>Americas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tlanta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solidFill>
                            <a:schemeClr val="tx1"/>
                          </a:solidFill>
                          <a:latin typeface="+mn-lt"/>
                        </a:rPr>
                        <a:t>Bogot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á</a:t>
                      </a:r>
                      <a:endParaRPr lang="en-US" sz="9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Calgary</a:t>
                      </a:r>
                      <a:endParaRPr lang="en-US" sz="900" dirty="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Chicago 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Dallas</a:t>
                      </a:r>
                      <a:endParaRPr lang="en-US" sz="900" dirty="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Detroit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Houston</a:t>
                      </a:r>
                      <a:endParaRPr lang="en-US" sz="900" b="1" dirty="0">
                        <a:latin typeface="Arial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Arial"/>
                        </a:rPr>
                        <a:t>Mexico City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New York</a:t>
                      </a:r>
                      <a:endParaRPr lang="en-US" sz="900" dirty="0">
                        <a:latin typeface="Arial"/>
                      </a:endParaRP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Palo Alto</a:t>
                      </a: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San Francisco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São Paulo</a:t>
                      </a:r>
                      <a:endParaRPr lang="en-US" sz="900" dirty="0">
                        <a:latin typeface="Arial"/>
                      </a:endParaRP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Toront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Washington,</a:t>
                      </a:r>
                      <a:r>
                        <a:rPr lang="en-US" sz="700" dirty="0">
                          <a:latin typeface="+mn-lt"/>
                        </a:rPr>
                        <a:t> </a:t>
                      </a:r>
                      <a:r>
                        <a:rPr lang="en-US" sz="900" dirty="0">
                          <a:latin typeface="+mn-lt"/>
                        </a:rPr>
                        <a:t>D.C.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/>
                </a:extLst>
              </a:tr>
              <a:tr h="423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</a:rPr>
                        <a:t>Asia Pacific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angkok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eijing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Hong Kong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Jakarta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Kuala Lumpur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elbourne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um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New Delhi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eo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hanghai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ingapor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ydney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Taipe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Tokyo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702894">
                <a:tc>
                  <a:txBody>
                    <a:bodyPr/>
                    <a:lstStyle/>
                    <a:p>
                      <a:r>
                        <a:rPr lang="en-US" sz="900" b="1" dirty="0">
                          <a:latin typeface="Arial"/>
                        </a:rPr>
                        <a:t>Europe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msterdam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erlin 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russels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ucharest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Budapest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Copenhage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+mn-lt"/>
                        </a:rPr>
                        <a:t>Düsseldorf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Frankfurt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Helsink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Istanbul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Kiev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Lisbon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Ljublja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London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adrid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ilan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osco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Munich</a:t>
                      </a:r>
                      <a:br>
                        <a:rPr lang="en-US" sz="900" dirty="0">
                          <a:latin typeface="Arial"/>
                        </a:rPr>
                      </a:br>
                      <a:r>
                        <a:rPr lang="en-US" sz="900" dirty="0">
                          <a:latin typeface="Arial"/>
                        </a:rPr>
                        <a:t>Oslo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Paris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Pragu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Rome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tockholm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Stuttgart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Vienna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Warsaw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Zurich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  <a:tr h="423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>
                          <a:latin typeface="Arial"/>
                        </a:rPr>
                        <a:t>Middle East </a:t>
                      </a:r>
                      <a:br>
                        <a:rPr lang="en-US" sz="900" b="1" dirty="0">
                          <a:latin typeface="Arial"/>
                        </a:rPr>
                      </a:br>
                      <a:r>
                        <a:rPr lang="en-US" sz="900" b="1" dirty="0">
                          <a:latin typeface="Arial"/>
                        </a:rPr>
                        <a:t>and Africa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Abu Dhab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Doha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Dubai</a:t>
                      </a:r>
                    </a:p>
                    <a:p>
                      <a:pPr>
                        <a:lnSpc>
                          <a:spcPts val="1100"/>
                        </a:lnSpc>
                      </a:pPr>
                      <a:r>
                        <a:rPr lang="en-US" sz="900" dirty="0">
                          <a:latin typeface="Arial"/>
                        </a:rPr>
                        <a:t>Johannesburg</a:t>
                      </a: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dirty="0">
                          <a:latin typeface="+mn-lt"/>
                        </a:rPr>
                        <a:t>Manama</a:t>
                      </a:r>
                    </a:p>
                    <a:p>
                      <a:r>
                        <a:rPr lang="en-US" sz="900" dirty="0">
                          <a:latin typeface="Arial"/>
                        </a:rPr>
                        <a:t>Riyadh</a:t>
                      </a:r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900" dirty="0">
                        <a:latin typeface="Arial"/>
                        <a:cs typeface="Arial" pitchFamily="34" charset="0"/>
                      </a:endParaRPr>
                    </a:p>
                  </a:txBody>
                  <a:tcPr marL="0" marR="0" marT="36005" marB="108014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/>
                </a:extLst>
              </a:tr>
            </a:tbl>
          </a:graphicData>
        </a:graphic>
      </p:graphicFrame>
      <p:sp>
        <p:nvSpPr>
          <p:cNvPr id="9" name="TextBox 5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244475" y="1700213"/>
            <a:ext cx="8640763" cy="129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 cap="rnd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 fontAlgn="base">
              <a:lnSpc>
                <a:spcPts val="19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1400" smtClean="0">
                <a:solidFill>
                  <a:srgbClr val="000000"/>
                </a:solidFill>
                <a:cs typeface="Arial" panose="020B0604020202020204" pitchFamily="34" charset="0"/>
              </a:rPr>
              <a:t>A.T. Kearney is a leading global management consulting firm with offices in more than 40 countries. Since 1926, we have been trusted advisors to the world's foremost organizations. A.T. Kearney is a partner-owned firm, committed to helping clients achieve immediate impact and growing advantage on their most mission-critical issues. For more information, visit </a:t>
            </a:r>
            <a:r>
              <a:rPr lang="en-US" altLang="sl-SI" sz="1400" smtClean="0">
                <a:solidFill>
                  <a:srgbClr val="000000"/>
                </a:solidFill>
                <a:cs typeface="Arial" panose="020B0604020202020204" pitchFamily="34" charset="0"/>
                <a:hlinkClick r:id="rId11"/>
              </a:rPr>
              <a:t>www.atkearney.com</a:t>
            </a:r>
            <a:r>
              <a:rPr lang="en-US" altLang="sl-SI" sz="1400" smtClean="0">
                <a:solidFill>
                  <a:srgbClr val="000000"/>
                </a:solidFill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324152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13"/>
          <p:cNvSpPr txBox="1">
            <a:spLocks noChangeArrowheads="1"/>
          </p:cNvSpPr>
          <p:nvPr/>
        </p:nvSpPr>
        <p:spPr bwMode="auto">
          <a:xfrm>
            <a:off x="8045450" y="6610350"/>
            <a:ext cx="603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800" smtClean="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6" name="TextBox 14"/>
          <p:cNvSpPr txBox="1">
            <a:spLocks noChangeArrowheads="1"/>
          </p:cNvSpPr>
          <p:nvPr/>
        </p:nvSpPr>
        <p:spPr bwMode="auto">
          <a:xfrm>
            <a:off x="8642350" y="6594475"/>
            <a:ext cx="26511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43458A59-7F17-4CFB-A4A1-11B792566DD9}" type="slidenum">
              <a:rPr lang="en-US" altLang="sl-SI" sz="900" smtClean="0">
                <a:solidFill>
                  <a:srgbClr val="ADABA1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sl-SI" sz="900" smtClean="0">
              <a:solidFill>
                <a:srgbClr val="ADABA1"/>
              </a:solidFill>
            </a:endParaRPr>
          </a:p>
        </p:txBody>
      </p:sp>
      <p:pic>
        <p:nvPicPr>
          <p:cNvPr id="7" name="Picture 12" descr="White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0675"/>
            <a:ext cx="91440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1"/>
          <p:cNvSpPr>
            <a:spLocks noGrp="1"/>
          </p:cNvSpPr>
          <p:nvPr>
            <p:ph type="title"/>
          </p:nvPr>
        </p:nvSpPr>
        <p:spPr>
          <a:xfrm>
            <a:off x="250825" y="446999"/>
            <a:ext cx="7594705" cy="332399"/>
          </a:xfrm>
          <a:prstGeom prst="rect">
            <a:avLst/>
          </a:prstGeom>
        </p:spPr>
        <p:txBody>
          <a:bodyPr rtlCol="0" anchor="b"/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75591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485C752-F9FC-46B5-A1C2-01497BE53DB7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039AC7D-4DFD-41A5-BBFB-98ABF313DC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874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80A939C-6A38-4884-8ABC-1C0DFD60F834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EB4C74D-3EF2-46D4-BCDA-531CC49A5B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7139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B5E116C-F634-4DD2-AF47-9E8585B85CC3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4FB9686-A9F1-40DA-8B1E-1BC41F5F5B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4862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A7A5991-BF94-40D1-9CC6-65ADA1F7D65F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0731DE4-EDB7-44B7-867B-114C32F7B98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1462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E8466A2-F6B8-46D9-8B3B-D0894D498B45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4929D6F-0C75-4E88-A04E-7C08B75E264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8275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3A470D2-07BB-41EA-9718-1DB62AAD25CE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3654EE8-04A3-451C-993A-2B4A9C21D4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8569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6FE102E-1809-482B-855E-F6B42DDDFCC3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74919F6-0401-4382-ABD2-94002CF748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9039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D41ACCA-EC73-4345-A542-CDDF69887B5D}" type="datetimeFigureOut">
              <a:rPr lang="en-US"/>
              <a:pPr>
                <a:defRPr/>
              </a:pPr>
              <a:t>9/6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E93C792-8D20-4BAD-A9AF-1B8032973F4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34260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676275"/>
            <a:ext cx="7886700" cy="1014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l-SI" smtClean="0"/>
              <a:t>Click to edit Master title style</a:t>
            </a:r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sl-SI" smtClean="0"/>
              <a:t>Click to edit Master text styles</a:t>
            </a:r>
          </a:p>
          <a:p>
            <a:pPr lvl="1"/>
            <a:r>
              <a:rPr lang="en-US" altLang="sl-SI" smtClean="0"/>
              <a:t>Second level</a:t>
            </a:r>
          </a:p>
          <a:p>
            <a:pPr lvl="2"/>
            <a:r>
              <a:rPr lang="en-US" altLang="sl-SI" smtClean="0"/>
              <a:t>Third level</a:t>
            </a:r>
          </a:p>
          <a:p>
            <a:pPr lvl="3"/>
            <a:r>
              <a:rPr lang="en-US" altLang="sl-SI" smtClean="0"/>
              <a:t>Fourth level</a:t>
            </a:r>
          </a:p>
          <a:p>
            <a:pPr lvl="4"/>
            <a:r>
              <a:rPr lang="en-US" altLang="sl-SI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defTabSz="914400">
              <a:defRPr/>
            </a:pPr>
            <a:fld id="{2A3901BE-9AAA-4D15-A679-039E5CA1456D}" type="datetimeFigureOut">
              <a:rPr lang="en-US"/>
              <a:pPr defTabSz="914400">
                <a:defRPr/>
              </a:pPr>
              <a:t>9/6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defTabSz="914400"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black">
                    <a:tint val="75000"/>
                  </a:prstClr>
                </a:solidFill>
                <a:latin typeface="Calibri" panose="020F0502020204030204"/>
              </a:defRPr>
            </a:lvl1pPr>
          </a:lstStyle>
          <a:p>
            <a:pPr defTabSz="914400">
              <a:defRPr/>
            </a:pPr>
            <a:fld id="{9F1E8995-EC44-473B-97C4-2D70D67DA518}" type="slidenum">
              <a:rPr lang="en-US"/>
              <a:pPr defTabSz="914400"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9581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defTabSz="6858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4572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9144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3716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828800" algn="l" defTabSz="685800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50" indent="-171450" algn="l" defTabSz="685800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3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Title Placeholder 1"/>
          <p:cNvSpPr>
            <a:spLocks noGrp="1"/>
          </p:cNvSpPr>
          <p:nvPr>
            <p:ph type="title"/>
          </p:nvPr>
        </p:nvSpPr>
        <p:spPr bwMode="auto">
          <a:xfrm>
            <a:off x="244475" y="804863"/>
            <a:ext cx="864076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sl-SI" smtClean="0"/>
              <a:t>Headline of maximum two lines here</a:t>
            </a:r>
          </a:p>
        </p:txBody>
      </p:sp>
      <p:sp>
        <p:nvSpPr>
          <p:cNvPr id="410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44475" y="2057400"/>
            <a:ext cx="8640763" cy="1338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sl-SI" smtClean="0"/>
              <a:t>Text on first level here</a:t>
            </a:r>
          </a:p>
          <a:p>
            <a:pPr lvl="1"/>
            <a:r>
              <a:rPr lang="en-US" altLang="sl-SI" smtClean="0"/>
              <a:t>Second level</a:t>
            </a:r>
          </a:p>
          <a:p>
            <a:pPr lvl="2"/>
            <a:r>
              <a:rPr lang="en-US" altLang="sl-SI" smtClean="0"/>
              <a:t>Third level</a:t>
            </a:r>
          </a:p>
          <a:p>
            <a:pPr lvl="3"/>
            <a:r>
              <a:rPr lang="en-US" altLang="sl-SI" smtClean="0"/>
              <a:t>Fourth level</a:t>
            </a:r>
          </a:p>
          <a:p>
            <a:pPr lvl="4"/>
            <a:r>
              <a:rPr lang="en-US" altLang="sl-SI" smtClean="0"/>
              <a:t>Fifth level</a:t>
            </a:r>
          </a:p>
        </p:txBody>
      </p:sp>
      <p:sp>
        <p:nvSpPr>
          <p:cNvPr id="4101" name="TextBox 13"/>
          <p:cNvSpPr txBox="1">
            <a:spLocks noChangeArrowheads="1"/>
          </p:cNvSpPr>
          <p:nvPr/>
        </p:nvSpPr>
        <p:spPr bwMode="auto">
          <a:xfrm>
            <a:off x="8045450" y="6610350"/>
            <a:ext cx="6032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sl-SI" sz="800" smtClean="0">
                <a:solidFill>
                  <a:srgbClr val="ADABA1"/>
                </a:solidFill>
                <a:latin typeface="Arial "/>
              </a:rPr>
              <a:t>A.T. Kearney</a:t>
            </a:r>
          </a:p>
        </p:txBody>
      </p:sp>
      <p:sp>
        <p:nvSpPr>
          <p:cNvPr id="4102" name="TextBox 14"/>
          <p:cNvSpPr txBox="1">
            <a:spLocks noChangeArrowheads="1"/>
          </p:cNvSpPr>
          <p:nvPr/>
        </p:nvSpPr>
        <p:spPr bwMode="auto">
          <a:xfrm>
            <a:off x="8642350" y="6594475"/>
            <a:ext cx="265113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26ADEC03-4676-4695-9F07-A6066CF776A5}" type="slidenum">
              <a:rPr lang="en-US" altLang="sl-SI" sz="900" smtClean="0">
                <a:solidFill>
                  <a:srgbClr val="ADABA1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sl-SI" sz="900" smtClean="0">
              <a:solidFill>
                <a:srgbClr val="ADABA1"/>
              </a:solidFill>
            </a:endParaRPr>
          </a:p>
        </p:txBody>
      </p:sp>
      <p:pic>
        <p:nvPicPr>
          <p:cNvPr id="4103" name="Picture 12" descr="White1.pn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0675"/>
            <a:ext cx="91440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5002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1400"/>
        </a:spcBef>
        <a:spcAft>
          <a:spcPct val="0"/>
        </a:spcAft>
        <a:buClr>
          <a:schemeClr val="bg2"/>
        </a:buClr>
        <a:buSzPct val="100000"/>
        <a:buFont typeface="Arial" panose="020B0604020202020204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09563" indent="-127000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8950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413" indent="-136525" algn="l" rtl="0" eaLnBrk="0" fontAlgn="base" hangingPunct="0">
        <a:lnSpc>
          <a:spcPct val="90000"/>
        </a:lnSpc>
        <a:spcBef>
          <a:spcPts val="2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69938" indent="-136525" algn="l" rtl="0" eaLnBrk="0" fontAlgn="base" hangingPunct="0">
        <a:lnSpc>
          <a:spcPct val="90000"/>
        </a:lnSpc>
        <a:spcBef>
          <a:spcPts val="100"/>
        </a:spcBef>
        <a:spcAft>
          <a:spcPct val="0"/>
        </a:spcAft>
        <a:buClr>
          <a:schemeClr val="bg2"/>
        </a:buClr>
        <a:buFont typeface="Arial" panose="020B0604020202020204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png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6.wmf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7.png"/><Relationship Id="rId9" Type="http://schemas.microsoft.com/office/2007/relationships/diagramDrawing" Target="../diagrams/drawin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5.png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pn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Title 1"/>
          <p:cNvSpPr>
            <a:spLocks noGrp="1"/>
          </p:cNvSpPr>
          <p:nvPr>
            <p:ph type="ctrTitle" idx="4294967295"/>
          </p:nvPr>
        </p:nvSpPr>
        <p:spPr>
          <a:xfrm>
            <a:off x="0" y="15478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92163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92164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92165" name="PoljeZBesedilom 2"/>
          <p:cNvSpPr txBox="1">
            <a:spLocks noChangeArrowheads="1"/>
          </p:cNvSpPr>
          <p:nvPr/>
        </p:nvSpPr>
        <p:spPr bwMode="auto">
          <a:xfrm>
            <a:off x="457200" y="5516563"/>
            <a:ext cx="8496300" cy="93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endParaRPr lang="sl-SI" altLang="sl-SI" sz="1600" b="1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algn="ctr">
              <a:buFontTx/>
              <a:buNone/>
            </a:pPr>
            <a:r>
              <a:rPr lang="sl-SI" altLang="sl-SI" sz="1600" b="1">
                <a:solidFill>
                  <a:srgbClr val="000000"/>
                </a:solidFill>
                <a:cs typeface="Arial" panose="020B0604020202020204" pitchFamily="34" charset="0"/>
              </a:rPr>
              <a:t>Gregor Umek, mag.</a:t>
            </a:r>
          </a:p>
          <a:p>
            <a:pPr algn="ctr">
              <a:buFontTx/>
              <a:buNone/>
            </a:pPr>
            <a:r>
              <a:rPr lang="sl-SI" altLang="sl-SI" sz="1600" b="1">
                <a:solidFill>
                  <a:srgbClr val="000000"/>
                </a:solidFill>
                <a:cs typeface="Arial" panose="020B0604020202020204" pitchFamily="34" charset="0"/>
              </a:rPr>
              <a:t>Ministrstvo za gospodarski razvoj in tehnologijo</a:t>
            </a:r>
            <a:endParaRPr lang="sl-SI" altLang="sl-SI" sz="160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92166" name="PoljeZBesedilom 1"/>
          <p:cNvSpPr txBox="1">
            <a:spLocks noChangeArrowheads="1"/>
          </p:cNvSpPr>
          <p:nvPr/>
        </p:nvSpPr>
        <p:spPr bwMode="auto">
          <a:xfrm>
            <a:off x="971550" y="1220788"/>
            <a:ext cx="720090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sz="2400" b="1">
                <a:solidFill>
                  <a:srgbClr val="000000"/>
                </a:solidFill>
                <a:cs typeface="Arial" panose="020B0604020202020204" pitchFamily="34" charset="0"/>
              </a:rPr>
              <a:t>Predstavitev javnega razpisa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sz="2400" b="1">
                <a:solidFill>
                  <a:srgbClr val="000000"/>
                </a:solidFill>
                <a:cs typeface="Arial" panose="020B0604020202020204" pitchFamily="34" charset="0"/>
              </a:rPr>
              <a:t>»Vzpostavitev ali nadgradnja elektronskega poslovanja v MSP v obdobju 2017-2018«</a:t>
            </a:r>
          </a:p>
        </p:txBody>
      </p:sp>
      <p:sp>
        <p:nvSpPr>
          <p:cNvPr id="92167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92168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69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70" name="Slika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775" y="2781300"/>
            <a:ext cx="2838450" cy="283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8455188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Title 1"/>
          <p:cNvSpPr>
            <a:spLocks noGrp="1"/>
          </p:cNvSpPr>
          <p:nvPr>
            <p:ph type="ctrTitle" idx="4294967295"/>
          </p:nvPr>
        </p:nvSpPr>
        <p:spPr>
          <a:xfrm>
            <a:off x="0" y="15478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10595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10596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474663" y="2492375"/>
            <a:ext cx="4097337" cy="20621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pis </a:t>
            </a:r>
            <a:r>
              <a:rPr lang="sl-SI" altLang="sl-SI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ukrepa</a:t>
            </a: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zdelava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produktno-prodajnega videa v vsaj enem tujem jeziku</a:t>
            </a:r>
            <a:endParaRPr lang="sl-SI" altLang="sl-SI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edvidene aktivnosti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zdelava scenarija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nemanj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obdelava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filma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zobraževanj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usposabljanje vezano na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aktivnost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0598" name="PoljeZBesedilom 1"/>
          <p:cNvSpPr txBox="1">
            <a:spLocks noChangeArrowheads="1"/>
          </p:cNvSpPr>
          <p:nvPr/>
        </p:nvSpPr>
        <p:spPr bwMode="auto">
          <a:xfrm>
            <a:off x="971550" y="1389063"/>
            <a:ext cx="7200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Ukrep 5: produktno – prodajni video</a:t>
            </a:r>
          </a:p>
        </p:txBody>
      </p:sp>
      <p:sp>
        <p:nvSpPr>
          <p:cNvPr id="110599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10600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1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0602" name="Slika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525" y="3349625"/>
            <a:ext cx="2166938" cy="2166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4564467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Title 1"/>
          <p:cNvSpPr>
            <a:spLocks noGrp="1"/>
          </p:cNvSpPr>
          <p:nvPr>
            <p:ph type="ctrTitle" idx="4294967295"/>
          </p:nvPr>
        </p:nvSpPr>
        <p:spPr>
          <a:xfrm>
            <a:off x="0" y="15478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12643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12644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474663" y="2276475"/>
            <a:ext cx="5176837" cy="41052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pis ukrepa</a:t>
            </a:r>
            <a:r>
              <a:rPr lang="sl-SI" altLang="sl-SI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krepitev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kompetenc in modelov nastopov na novih trgih v času digitalne transformacije</a:t>
            </a:r>
            <a:endParaRPr lang="sl-SI" altLang="sl-SI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Dva sklopa aktivnosti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 </a:t>
            </a:r>
            <a:r>
              <a:rPr lang="sl-SI" altLang="sl-SI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prvem sklopu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gre za splošno usposabljanje in ozaveščanje lastnikov, vodstvenega kadra in zaposlenih v MSP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na področjih industrije 4.0 </a:t>
            </a:r>
            <a:r>
              <a:rPr lang="pl-PL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(samo področje, ki se nanaša na poslovanje s tujimi partnerji)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, novih modelov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rodij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za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zvoz, vzpostavljanja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digitalnih delovnih mest,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nternet </a:t>
            </a:r>
            <a:r>
              <a:rPr lang="sl-SI" altLang="sl-SI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of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sl-SI" altLang="sl-SI" sz="1600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things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, itd.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 </a:t>
            </a:r>
            <a:r>
              <a:rPr lang="sl-SI" altLang="sl-SI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drugem sklopu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gre za predstavitev primerov dobrih praks pri uvedbi in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mplementaciji industrij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4.0 (samo področje, ki se nanaša na poslovanje s tujimi partnerji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)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v tujih in slovenskih podjetjih, ki bi se lahko izvajal na splošni ali panožni ravni </a:t>
            </a:r>
            <a:endParaRPr lang="sl-SI" altLang="sl-SI" sz="1600" dirty="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12646" name="PoljeZBesedilom 1"/>
          <p:cNvSpPr txBox="1">
            <a:spLocks noChangeArrowheads="1"/>
          </p:cNvSpPr>
          <p:nvPr/>
        </p:nvSpPr>
        <p:spPr bwMode="auto">
          <a:xfrm>
            <a:off x="474663" y="1389063"/>
            <a:ext cx="81232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Ukrep 6: krepitev kompetenc - usposabljanja</a:t>
            </a:r>
          </a:p>
        </p:txBody>
      </p:sp>
      <p:sp>
        <p:nvSpPr>
          <p:cNvPr id="112647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12648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49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50" name="Slika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600" y="2276475"/>
            <a:ext cx="1733550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51" name="Slika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725" y="4437063"/>
            <a:ext cx="1766888" cy="176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3221759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14691" name="TextBox 7"/>
          <p:cNvSpPr txBox="1">
            <a:spLocks noChangeArrowheads="1"/>
          </p:cNvSpPr>
          <p:nvPr/>
        </p:nvSpPr>
        <p:spPr bwMode="auto">
          <a:xfrm>
            <a:off x="1187450" y="1406525"/>
            <a:ext cx="19161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474663" y="2492375"/>
            <a:ext cx="6075362" cy="33972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4693" name="PoljeZBesedilom 1"/>
          <p:cNvSpPr txBox="1">
            <a:spLocks noChangeArrowheads="1"/>
          </p:cNvSpPr>
          <p:nvPr/>
        </p:nvSpPr>
        <p:spPr bwMode="auto">
          <a:xfrm>
            <a:off x="971550" y="1389063"/>
            <a:ext cx="7200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Merila za ocenjevanje vlog</a:t>
            </a:r>
          </a:p>
        </p:txBody>
      </p:sp>
      <p:sp>
        <p:nvSpPr>
          <p:cNvPr id="114694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14695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696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Tabela 7"/>
          <p:cNvGraphicFramePr>
            <a:graphicFrameLocks noGrp="1"/>
          </p:cNvGraphicFramePr>
          <p:nvPr/>
        </p:nvGraphicFramePr>
        <p:xfrm>
          <a:off x="906463" y="2205038"/>
          <a:ext cx="7194550" cy="36004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7866"/>
                <a:gridCol w="4428501"/>
                <a:gridCol w="2398183"/>
              </a:tblGrid>
              <a:tr h="466016">
                <a:tc gridSpan="2">
                  <a:txBody>
                    <a:bodyPr/>
                    <a:lstStyle/>
                    <a:p>
                      <a:r>
                        <a:rPr lang="sl-SI" sz="1800" dirty="0" smtClean="0">
                          <a:solidFill>
                            <a:schemeClr val="tx1"/>
                          </a:solidFill>
                        </a:rPr>
                        <a:t>Merilo</a:t>
                      </a:r>
                      <a:endParaRPr lang="sl-SI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721" marB="45721"/>
                </a:tc>
                <a:tc hMerge="1">
                  <a:txBody>
                    <a:bodyPr/>
                    <a:lstStyle/>
                    <a:p>
                      <a:endParaRPr lang="sl-S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l-SI" sz="1800" dirty="0" smtClean="0">
                          <a:solidFill>
                            <a:schemeClr val="tx1"/>
                          </a:solidFill>
                        </a:rPr>
                        <a:t>Št. točk</a:t>
                      </a:r>
                      <a:endParaRPr lang="sl-SI" sz="1800" dirty="0">
                        <a:solidFill>
                          <a:schemeClr val="tx1"/>
                        </a:solidFill>
                      </a:endParaRPr>
                    </a:p>
                  </a:txBody>
                  <a:tcPr marL="91458" marR="91458" marT="45721" marB="45721"/>
                </a:tc>
              </a:tr>
              <a:tr h="466016"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1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Število izvedenih ukrepov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sz="1800" dirty="0" smtClean="0"/>
                        <a:t>20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</a:tr>
              <a:tr h="466016"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2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Reference zunanjega izvajalca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sz="1800" dirty="0" smtClean="0"/>
                        <a:t>20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</a:tr>
              <a:tr h="466016"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3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Finančna sposobnost podjetja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sz="1800" dirty="0" smtClean="0"/>
                        <a:t>20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</a:tr>
              <a:tr h="466016"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4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Tržni potencial podjetja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sz="1800" dirty="0" smtClean="0"/>
                        <a:t>20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</a:tr>
              <a:tr h="804356"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5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r>
                        <a:rPr lang="sl-SI" sz="1800" dirty="0" smtClean="0"/>
                        <a:t>Odstotek zaposlenih, ki sodelujejo pri izvajanju operacije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sz="1800" dirty="0" smtClean="0"/>
                        <a:t>20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</a:tr>
              <a:tr h="466016">
                <a:tc gridSpan="2">
                  <a:txBody>
                    <a:bodyPr/>
                    <a:lstStyle/>
                    <a:p>
                      <a:r>
                        <a:rPr lang="sl-SI" sz="1800" b="1" dirty="0" smtClean="0"/>
                        <a:t>Skupaj</a:t>
                      </a:r>
                      <a:endParaRPr lang="sl-SI" sz="1800" b="1" dirty="0"/>
                    </a:p>
                  </a:txBody>
                  <a:tcPr marL="91458" marR="91458" marT="45721" marB="45721"/>
                </a:tc>
                <a:tc hMerge="1">
                  <a:txBody>
                    <a:bodyPr/>
                    <a:lstStyle/>
                    <a:p>
                      <a:endParaRPr lang="sl-SI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l-SI" sz="1800" dirty="0" smtClean="0"/>
                        <a:t>100</a:t>
                      </a:r>
                      <a:endParaRPr lang="sl-SI" sz="1800" dirty="0"/>
                    </a:p>
                  </a:txBody>
                  <a:tcPr marL="91458" marR="91458" marT="45721" marB="45721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096290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Title 1"/>
          <p:cNvSpPr>
            <a:spLocks noGrp="1"/>
          </p:cNvSpPr>
          <p:nvPr>
            <p:ph type="ctrTitle" idx="4294967295"/>
          </p:nvPr>
        </p:nvSpPr>
        <p:spPr>
          <a:xfrm>
            <a:off x="592138" y="13319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16739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16740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16741" name="PoljeZBesedilom 1"/>
          <p:cNvSpPr txBox="1">
            <a:spLocks noChangeArrowheads="1"/>
          </p:cNvSpPr>
          <p:nvPr/>
        </p:nvSpPr>
        <p:spPr bwMode="auto">
          <a:xfrm>
            <a:off x="962025" y="1203325"/>
            <a:ext cx="7200900" cy="138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Uvrstitev Slovenije na indeksu digitalnega gospodarstva in družbe (DESI) v letu 2017</a:t>
            </a:r>
          </a:p>
        </p:txBody>
      </p:sp>
      <p:sp>
        <p:nvSpPr>
          <p:cNvPr id="116742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16743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744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74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313" y="2781300"/>
            <a:ext cx="7734300" cy="366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6746" name="PoljeZBesedilom 1"/>
          <p:cNvSpPr txBox="1">
            <a:spLocks noChangeArrowheads="1"/>
          </p:cNvSpPr>
          <p:nvPr/>
        </p:nvSpPr>
        <p:spPr bwMode="auto">
          <a:xfrm>
            <a:off x="722313" y="6488113"/>
            <a:ext cx="19272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ir: Evropska komisija, 2017</a:t>
            </a:r>
          </a:p>
        </p:txBody>
      </p:sp>
    </p:spTree>
    <p:extLst>
      <p:ext uri="{BB962C8B-B14F-4D97-AF65-F5344CB8AC3E}">
        <p14:creationId xmlns:p14="http://schemas.microsoft.com/office/powerpoint/2010/main" val="3574718253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Title 1"/>
          <p:cNvSpPr>
            <a:spLocks noGrp="1"/>
          </p:cNvSpPr>
          <p:nvPr>
            <p:ph type="ctrTitle" idx="4294967295"/>
          </p:nvPr>
        </p:nvSpPr>
        <p:spPr>
          <a:xfrm>
            <a:off x="592138" y="13319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18787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18788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18789" name="PoljeZBesedilom 1"/>
          <p:cNvSpPr txBox="1">
            <a:spLocks noChangeArrowheads="1"/>
          </p:cNvSpPr>
          <p:nvPr/>
        </p:nvSpPr>
        <p:spPr bwMode="auto">
          <a:xfrm>
            <a:off x="962025" y="1203325"/>
            <a:ext cx="7200900" cy="138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Gibanje uvrstitve Slovenije in EU na indeksu digitalnega gospodarstva in družbe (DESI) v obdobju 2014-2017</a:t>
            </a:r>
          </a:p>
        </p:txBody>
      </p:sp>
      <p:sp>
        <p:nvSpPr>
          <p:cNvPr id="118790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18791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792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79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375" y="2708275"/>
            <a:ext cx="4113213" cy="3673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8794" name="PoljeZBesedilom 9"/>
          <p:cNvSpPr txBox="1">
            <a:spLocks noChangeArrowheads="1"/>
          </p:cNvSpPr>
          <p:nvPr/>
        </p:nvSpPr>
        <p:spPr bwMode="auto">
          <a:xfrm>
            <a:off x="2619375" y="6488113"/>
            <a:ext cx="19272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2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Vir: Evropska komisija, 2017</a:t>
            </a:r>
          </a:p>
        </p:txBody>
      </p:sp>
    </p:spTree>
    <p:extLst>
      <p:ext uri="{BB962C8B-B14F-4D97-AF65-F5344CB8AC3E}">
        <p14:creationId xmlns:p14="http://schemas.microsoft.com/office/powerpoint/2010/main" val="196522133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Title 1"/>
          <p:cNvSpPr>
            <a:spLocks noGrp="1"/>
          </p:cNvSpPr>
          <p:nvPr>
            <p:ph type="ctrTitle" idx="4294967295"/>
          </p:nvPr>
        </p:nvSpPr>
        <p:spPr>
          <a:xfrm>
            <a:off x="592138" y="13319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20835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20836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20837" name="PoljeZBesedilom 1"/>
          <p:cNvSpPr txBox="1">
            <a:spLocks noChangeArrowheads="1"/>
          </p:cNvSpPr>
          <p:nvPr/>
        </p:nvSpPr>
        <p:spPr bwMode="auto">
          <a:xfrm>
            <a:off x="962025" y="2997200"/>
            <a:ext cx="72009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Hvala za pozornost!</a:t>
            </a:r>
          </a:p>
        </p:txBody>
      </p:sp>
      <p:sp>
        <p:nvSpPr>
          <p:cNvPr id="120838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20839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0840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4965164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Title 1"/>
          <p:cNvSpPr>
            <a:spLocks noGrp="1"/>
          </p:cNvSpPr>
          <p:nvPr>
            <p:ph type="ctrTitle" idx="4294967295"/>
          </p:nvPr>
        </p:nvSpPr>
        <p:spPr>
          <a:xfrm>
            <a:off x="674688" y="10906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r>
              <a:rPr lang="sl-SI" altLang="sl-SI" sz="3200" smtClean="0">
                <a:cs typeface="Arial" panose="020B0604020202020204" pitchFamily="34" charset="0"/>
              </a:rPr>
              <a:t>Namen in cilj razpisa</a:t>
            </a:r>
            <a:endParaRPr lang="en-US" altLang="sl-SI" sz="3200" smtClean="0">
              <a:cs typeface="Arial" panose="020B0604020202020204" pitchFamily="34" charset="0"/>
            </a:endParaRPr>
          </a:p>
        </p:txBody>
      </p:sp>
      <p:sp>
        <p:nvSpPr>
          <p:cNvPr id="94211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94212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474663" y="2349500"/>
            <a:ext cx="4818062" cy="32924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defRPr/>
            </a:pPr>
            <a:r>
              <a:rPr lang="sl-SI" altLang="sl-SI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Namen: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podpreti MSP, ki lahko s prevzemom elektronskega načina poslovanja lažje vstopajo v globalne verige vrednosti in na nove trge, povečajo mednarodno konkurenčnost njihovega poslovanja, izboljšajo in pospešijo interakcijo s poslovnimi partnerji v tujini, učinkoviteje pošiljajo in zbirajo informacije ter izboljšajo odnose v celotni dobavni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erigi</a:t>
            </a:r>
          </a:p>
          <a:p>
            <a:pPr algn="just">
              <a:defRPr/>
            </a:pPr>
            <a:endParaRPr lang="sl-SI" altLang="sl-SI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Cilj</a:t>
            </a:r>
            <a:r>
              <a:rPr lang="sl-SI" altLang="sl-SI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zboljšati možnosti MSP pri vstopu oziroma širitvi poslovanja na tuje trge in tako povečati njihovo mednarodno konkurenčnost</a:t>
            </a:r>
          </a:p>
        </p:txBody>
      </p:sp>
      <p:sp>
        <p:nvSpPr>
          <p:cNvPr id="94214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94215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216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217" name="Slika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5963" y="2514600"/>
            <a:ext cx="2960687" cy="296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0062550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Title 1"/>
          <p:cNvSpPr>
            <a:spLocks noGrp="1"/>
          </p:cNvSpPr>
          <p:nvPr>
            <p:ph type="ctrTitle" idx="4294967295"/>
          </p:nvPr>
        </p:nvSpPr>
        <p:spPr>
          <a:xfrm>
            <a:off x="0" y="15478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96259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96260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1187450" y="2133600"/>
            <a:ext cx="3770313" cy="45227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sl-SI" altLang="sl-SI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bjavljen: </a:t>
            </a:r>
            <a:r>
              <a:rPr lang="sl-SI" altLang="sl-SI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. septembra 2017 </a:t>
            </a:r>
            <a:r>
              <a:rPr lang="sl-SI" altLang="sl-SI" dirty="0" smtClean="0">
                <a:latin typeface="Arial" charset="0"/>
                <a:cs typeface="Arial" charset="0"/>
              </a:rPr>
              <a:t>(UL RS št. 47/2017 z dne 1. 9. 2017)</a:t>
            </a:r>
          </a:p>
          <a:p>
            <a:pPr>
              <a:defRPr/>
            </a:pPr>
            <a:endParaRPr lang="sl-SI" altLang="sl-SI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sl-SI" altLang="sl-SI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Trajanje: </a:t>
            </a:r>
            <a:r>
              <a:rPr lang="sl-SI" altLang="sl-SI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017-2018</a:t>
            </a:r>
          </a:p>
          <a:p>
            <a:pPr>
              <a:defRPr/>
            </a:pPr>
            <a:endParaRPr lang="sl-SI" altLang="sl-SI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sl-SI" altLang="sl-SI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Upravičenci</a:t>
            </a:r>
            <a:r>
              <a:rPr lang="sl-SI" altLang="sl-SI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 MSP</a:t>
            </a:r>
          </a:p>
          <a:p>
            <a:pPr>
              <a:defRPr/>
            </a:pPr>
            <a:endParaRPr lang="sl-SI" altLang="sl-SI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sl-SI" altLang="sl-SI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Cilj razpisa do 2018: </a:t>
            </a:r>
            <a:r>
              <a:rPr lang="sl-SI" altLang="sl-SI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odpreti 82 MSP</a:t>
            </a:r>
          </a:p>
          <a:p>
            <a:pPr>
              <a:defRPr/>
            </a:pPr>
            <a:endParaRPr lang="sl-SI" altLang="sl-SI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sl-SI" altLang="sl-SI" b="1" dirty="0" smtClean="0">
                <a:latin typeface="Arial" charset="0"/>
                <a:cs typeface="Arial" charset="0"/>
              </a:rPr>
              <a:t>Cilj razpisa do 2023: </a:t>
            </a:r>
            <a:r>
              <a:rPr lang="sl-SI" altLang="sl-SI" dirty="0" smtClean="0">
                <a:latin typeface="Arial" charset="0"/>
                <a:cs typeface="Arial" charset="0"/>
              </a:rPr>
              <a:t>podpreti najmanj 250 MSP</a:t>
            </a:r>
          </a:p>
          <a:p>
            <a:pPr>
              <a:defRPr/>
            </a:pPr>
            <a:endParaRPr lang="sl-SI" altLang="sl-SI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sl-SI" altLang="sl-SI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Roka za oddajo vlog sta</a:t>
            </a:r>
            <a:r>
              <a:rPr lang="sl-SI" altLang="sl-SI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</a:t>
            </a:r>
          </a:p>
          <a:p>
            <a:pPr marL="285750" indent="-285750">
              <a:buFontTx/>
              <a:buChar char="-"/>
              <a:defRPr/>
            </a:pPr>
            <a:r>
              <a:rPr lang="sl-SI" altLang="sl-SI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. rok: 2. 10. 2017 </a:t>
            </a:r>
            <a:r>
              <a:rPr lang="sl-SI" altLang="sl-SI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n</a:t>
            </a:r>
          </a:p>
          <a:p>
            <a:pPr marL="285750" indent="-285750">
              <a:buFontTx/>
              <a:buChar char="-"/>
              <a:defRPr/>
            </a:pPr>
            <a:r>
              <a:rPr lang="sl-SI" altLang="sl-SI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. rok: 1. 3. 2018</a:t>
            </a:r>
          </a:p>
        </p:txBody>
      </p:sp>
      <p:sp>
        <p:nvSpPr>
          <p:cNvPr id="96262" name="PoljeZBesedilom 1"/>
          <p:cNvSpPr txBox="1">
            <a:spLocks noChangeArrowheads="1"/>
          </p:cNvSpPr>
          <p:nvPr/>
        </p:nvSpPr>
        <p:spPr bwMode="auto">
          <a:xfrm>
            <a:off x="798513" y="1279525"/>
            <a:ext cx="72009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sz="3200" b="1">
                <a:solidFill>
                  <a:srgbClr val="000000"/>
                </a:solidFill>
                <a:cs typeface="Arial" panose="020B0604020202020204" pitchFamily="34" charset="0"/>
              </a:rPr>
              <a:t>Osnovni podatki </a:t>
            </a:r>
          </a:p>
        </p:txBody>
      </p:sp>
      <p:sp>
        <p:nvSpPr>
          <p:cNvPr id="96263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96264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6" name="Slika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325" y="4572000"/>
            <a:ext cx="1919288" cy="19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7" name="Slika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325" y="2276475"/>
            <a:ext cx="1919288" cy="189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3680468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Title 1"/>
          <p:cNvSpPr>
            <a:spLocks noGrp="1"/>
          </p:cNvSpPr>
          <p:nvPr>
            <p:ph type="ctrTitle" idx="4294967295"/>
          </p:nvPr>
        </p:nvSpPr>
        <p:spPr>
          <a:xfrm>
            <a:off x="0" y="15478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98307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98308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444500" y="2205038"/>
            <a:ext cx="4487863" cy="41036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išina razpisanih sredstev v obdobju 2017-2018: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2.500.000 EUR: </a:t>
            </a:r>
          </a:p>
          <a:p>
            <a:pPr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- višina sredstev v 2017: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830.000 EUR</a:t>
            </a:r>
          </a:p>
          <a:p>
            <a:pPr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- višina sredstev v 2018: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1.670.00,00</a:t>
            </a:r>
          </a:p>
          <a:p>
            <a:pPr marL="285750" indent="-285750">
              <a:buFontTx/>
              <a:buChar char="-"/>
              <a:defRPr/>
            </a:pPr>
            <a:endParaRPr lang="sl-SI" altLang="sl-SI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pt-BR" altLang="sl-SI" sz="1600" b="1" dirty="0" smtClean="0">
                <a:latin typeface="Arial" charset="0"/>
                <a:cs typeface="Arial" charset="0"/>
              </a:rPr>
              <a:t>Višina razpisanih sredstev do 202</a:t>
            </a:r>
            <a:r>
              <a:rPr lang="sl-SI" altLang="sl-SI" sz="1600" b="1" dirty="0" smtClean="0">
                <a:latin typeface="Arial" charset="0"/>
                <a:cs typeface="Arial" charset="0"/>
              </a:rPr>
              <a:t>2</a:t>
            </a:r>
            <a:r>
              <a:rPr lang="pt-BR" altLang="sl-SI" sz="1600" dirty="0" smtClean="0">
                <a:latin typeface="Arial" charset="0"/>
                <a:cs typeface="Arial" charset="0"/>
              </a:rPr>
              <a:t>: 7.500.000 EUR</a:t>
            </a:r>
            <a:endParaRPr lang="sl-SI" altLang="sl-SI" sz="1600" dirty="0" smtClean="0">
              <a:latin typeface="Arial" charset="0"/>
              <a:cs typeface="Arial" charset="0"/>
            </a:endParaRPr>
          </a:p>
          <a:p>
            <a:pPr>
              <a:defRPr/>
            </a:pPr>
            <a:endParaRPr lang="sl-SI" altLang="sl-SI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914400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išina sofinanciranja: 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do vključno 70 % upravičenih stroškov</a:t>
            </a:r>
          </a:p>
          <a:p>
            <a:pPr defTabSz="914400">
              <a:defRPr/>
            </a:pPr>
            <a:endParaRPr lang="sl-SI" altLang="sl-SI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914400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Maksimalna vrednost sofinanciranja: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do 30.000 EUR na podjetje</a:t>
            </a:r>
          </a:p>
          <a:p>
            <a:pPr defTabSz="914400">
              <a:defRPr/>
            </a:pPr>
            <a:endParaRPr lang="sl-SI" altLang="sl-SI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defTabSz="914400">
              <a:defRPr/>
            </a:pPr>
            <a:r>
              <a:rPr lang="sl-SI" altLang="sl-SI" sz="1600" b="1" dirty="0" smtClean="0">
                <a:latin typeface="Arial" charset="0"/>
                <a:cs typeface="Arial" charset="0"/>
              </a:rPr>
              <a:t>Obdobje, v katerem morajo biti porabljena dodeljena sredstva: </a:t>
            </a:r>
            <a:r>
              <a:rPr lang="sl-SI" altLang="sl-SI" sz="1600" dirty="0" smtClean="0">
                <a:latin typeface="Arial" charset="0"/>
                <a:cs typeface="Arial" charset="0"/>
              </a:rPr>
              <a:t>1. 10. 2018</a:t>
            </a:r>
          </a:p>
        </p:txBody>
      </p:sp>
      <p:sp>
        <p:nvSpPr>
          <p:cNvPr id="98310" name="PoljeZBesedilom 1"/>
          <p:cNvSpPr txBox="1">
            <a:spLocks noChangeArrowheads="1"/>
          </p:cNvSpPr>
          <p:nvPr/>
        </p:nvSpPr>
        <p:spPr bwMode="auto">
          <a:xfrm>
            <a:off x="971550" y="1389063"/>
            <a:ext cx="7200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Sredstva</a:t>
            </a:r>
          </a:p>
        </p:txBody>
      </p:sp>
      <p:sp>
        <p:nvSpPr>
          <p:cNvPr id="98311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98312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313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314" name="Slika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9113" y="2349500"/>
            <a:ext cx="2981325" cy="190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315" name="Slika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9113" y="4508500"/>
            <a:ext cx="2981325" cy="1627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6213080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Title 1"/>
          <p:cNvSpPr>
            <a:spLocks noGrp="1"/>
          </p:cNvSpPr>
          <p:nvPr>
            <p:ph type="ctrTitle" idx="4294967295"/>
          </p:nvPr>
        </p:nvSpPr>
        <p:spPr>
          <a:xfrm>
            <a:off x="592138" y="13319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00355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00356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00357" name="PoljeZBesedilom 1"/>
          <p:cNvSpPr txBox="1">
            <a:spLocks noChangeArrowheads="1"/>
          </p:cNvSpPr>
          <p:nvPr/>
        </p:nvSpPr>
        <p:spPr bwMode="auto">
          <a:xfrm>
            <a:off x="962025" y="1203325"/>
            <a:ext cx="7200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Upravičeni stroški – shema de minimis</a:t>
            </a:r>
          </a:p>
        </p:txBody>
      </p:sp>
      <p:sp>
        <p:nvSpPr>
          <p:cNvPr id="100358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00359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0360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Diagram 2"/>
          <p:cNvGraphicFramePr/>
          <p:nvPr/>
        </p:nvGraphicFramePr>
        <p:xfrm>
          <a:off x="1213643" y="1772816"/>
          <a:ext cx="6697663" cy="48643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1337072032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Title 1"/>
          <p:cNvSpPr>
            <a:spLocks noGrp="1"/>
          </p:cNvSpPr>
          <p:nvPr>
            <p:ph type="ctrTitle" idx="4294967295"/>
          </p:nvPr>
        </p:nvSpPr>
        <p:spPr>
          <a:xfrm>
            <a:off x="0" y="15478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02403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02404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468313" y="2895600"/>
            <a:ext cx="5033962" cy="32940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pis ukrepa: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zpostavitev ali nadgradnja elektronske izmenjave, vmesnikov in varnih povezav med partnerji z namenom avtomatizacije ter digitalizacije mednarodnih procesov dobavnih verig B2B</a:t>
            </a:r>
          </a:p>
          <a:p>
            <a:pPr algn="just">
              <a:defRPr/>
            </a:pP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edvidene aktivnosti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iprava lastnega okolja za izdajo in prejem mednarodno standardiziranih e-Dokumentov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digitalizacija artiklov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zpostavitev sistema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zobraževanje in usposabljanje vezano na aktivnost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endParaRPr lang="sl-SI" altLang="sl-SI" sz="1600" dirty="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2406" name="PoljeZBesedilom 1"/>
          <p:cNvSpPr txBox="1">
            <a:spLocks noChangeArrowheads="1"/>
          </p:cNvSpPr>
          <p:nvPr/>
        </p:nvSpPr>
        <p:spPr bwMode="auto">
          <a:xfrm>
            <a:off x="971550" y="1389063"/>
            <a:ext cx="7200900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Ukrep 1: elektronska izmenjava med partnerji</a:t>
            </a:r>
          </a:p>
        </p:txBody>
      </p:sp>
      <p:sp>
        <p:nvSpPr>
          <p:cNvPr id="102407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02408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09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10" name="Slika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0750" y="2997200"/>
            <a:ext cx="2816225" cy="281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4339258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Title 1"/>
          <p:cNvSpPr>
            <a:spLocks noGrp="1"/>
          </p:cNvSpPr>
          <p:nvPr>
            <p:ph type="ctrTitle" idx="4294967295"/>
          </p:nvPr>
        </p:nvSpPr>
        <p:spPr>
          <a:xfrm>
            <a:off x="0" y="15478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04451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04452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474663" y="2708275"/>
            <a:ext cx="4529137" cy="32940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pis ukrepa</a:t>
            </a:r>
            <a:r>
              <a:rPr lang="sl-SI" altLang="sl-SI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ključevanj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v digitalne sejme/</a:t>
            </a:r>
            <a:r>
              <a:rPr lang="sl-SI" altLang="sl-SI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showroome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 (platforme za marketing posameznih industrij v različnih državah ali industrijah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)</a:t>
            </a:r>
          </a:p>
          <a:p>
            <a:pPr algn="just">
              <a:defRPr/>
            </a:pP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edvidene aktivnosti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iprava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oblikovanje digitalnih vsebin, interaktivni prikaz produktov in opisov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odjetij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edstavitv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na </a:t>
            </a:r>
            <a:r>
              <a:rPr lang="sl-SI" altLang="sl-SI" sz="1600" dirty="0" err="1" smtClean="0">
                <a:solidFill>
                  <a:srgbClr val="000000"/>
                </a:solidFill>
                <a:latin typeface="Arial" charset="0"/>
                <a:cs typeface="Arial" charset="0"/>
              </a:rPr>
              <a:t>ShowRoomih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zobraževanj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usposabljanje vezano na aktivnost</a:t>
            </a:r>
          </a:p>
          <a:p>
            <a:pPr marL="285750" indent="-285750">
              <a:buFont typeface="Wingdings" pitchFamily="2" charset="2"/>
              <a:buChar char="Ø"/>
              <a:defRPr/>
            </a:pPr>
            <a:endParaRPr lang="sl-SI" altLang="sl-SI" sz="1600" dirty="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4454" name="PoljeZBesedilom 1"/>
          <p:cNvSpPr txBox="1">
            <a:spLocks noChangeArrowheads="1"/>
          </p:cNvSpPr>
          <p:nvPr/>
        </p:nvSpPr>
        <p:spPr bwMode="auto">
          <a:xfrm>
            <a:off x="971550" y="1389063"/>
            <a:ext cx="7200900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Ukrep 2: Digitalizacija nastopov na sejmih</a:t>
            </a:r>
          </a:p>
        </p:txBody>
      </p:sp>
      <p:sp>
        <p:nvSpPr>
          <p:cNvPr id="104455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04456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457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4458" name="Slika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0725" y="2954338"/>
            <a:ext cx="2803525" cy="280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4632154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Title 1"/>
          <p:cNvSpPr>
            <a:spLocks noGrp="1"/>
          </p:cNvSpPr>
          <p:nvPr>
            <p:ph type="ctrTitle" idx="4294967295"/>
          </p:nvPr>
        </p:nvSpPr>
        <p:spPr>
          <a:xfrm>
            <a:off x="0" y="15478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06499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06500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474663" y="2492375"/>
            <a:ext cx="4673600" cy="33845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pis ukrepa: </a:t>
            </a:r>
            <a:r>
              <a:rPr lang="pl-PL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zdelava </a:t>
            </a:r>
            <a:r>
              <a:rPr lang="pl-PL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upravljanje celostne podobe na spletni strani za tuje trge</a:t>
            </a:r>
            <a:endParaRPr lang="sl-SI" altLang="sl-SI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edvidene aktivnosti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iprava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objava vsebin, struktur in opisov podjetij in njihovih rešitev na spletu v različnih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jezikih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vzpostavitev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upravljanje digitalnih kanalov in platform (WEB, </a:t>
            </a:r>
            <a:r>
              <a:rPr lang="sl-SI" altLang="sl-SI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Linkedin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, </a:t>
            </a:r>
            <a:r>
              <a:rPr lang="sl-SI" altLang="sl-SI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Facebook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, </a:t>
            </a:r>
            <a:r>
              <a:rPr lang="sl-SI" altLang="sl-SI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Booking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, </a:t>
            </a:r>
            <a:r>
              <a:rPr lang="sl-SI" altLang="sl-SI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Twitter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, </a:t>
            </a:r>
            <a:r>
              <a:rPr lang="sl-SI" altLang="sl-SI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Trip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sl-SI" altLang="sl-SI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Advisor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, </a:t>
            </a:r>
            <a:r>
              <a:rPr lang="sl-SI" altLang="sl-SI" sz="1600" dirty="0" err="1">
                <a:solidFill>
                  <a:srgbClr val="000000"/>
                </a:solidFill>
                <a:latin typeface="Arial" charset="0"/>
                <a:cs typeface="Arial" charset="0"/>
              </a:rPr>
              <a:t>Airbnb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, itd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.)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zobraževanj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usposabljanje vezano na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aktivnost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>
              <a:buFont typeface="Wingdings" pitchFamily="2" charset="2"/>
              <a:buChar char="Ø"/>
              <a:defRPr/>
            </a:pPr>
            <a:endParaRPr lang="sl-SI" altLang="sl-SI" sz="1600" dirty="0" smtClean="0">
              <a:solidFill>
                <a:prstClr val="black"/>
              </a:solidFill>
              <a:latin typeface="Arial" charset="0"/>
              <a:cs typeface="Arial" charset="0"/>
            </a:endParaRPr>
          </a:p>
        </p:txBody>
      </p:sp>
      <p:sp>
        <p:nvSpPr>
          <p:cNvPr id="106502" name="PoljeZBesedilom 1"/>
          <p:cNvSpPr txBox="1">
            <a:spLocks noChangeArrowheads="1"/>
          </p:cNvSpPr>
          <p:nvPr/>
        </p:nvSpPr>
        <p:spPr bwMode="auto">
          <a:xfrm>
            <a:off x="971550" y="1389063"/>
            <a:ext cx="7200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Ukrep 3: spletne strani za tuje trge</a:t>
            </a:r>
          </a:p>
        </p:txBody>
      </p:sp>
      <p:sp>
        <p:nvSpPr>
          <p:cNvPr id="106503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06504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505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506" name="Slika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0075" y="2636838"/>
            <a:ext cx="2925763" cy="292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74550283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Title 1"/>
          <p:cNvSpPr>
            <a:spLocks noGrp="1"/>
          </p:cNvSpPr>
          <p:nvPr>
            <p:ph type="ctrTitle" idx="4294967295"/>
          </p:nvPr>
        </p:nvSpPr>
        <p:spPr>
          <a:xfrm>
            <a:off x="0" y="1547813"/>
            <a:ext cx="7200900" cy="1119187"/>
          </a:xfrm>
        </p:spPr>
        <p:txBody>
          <a:bodyPr/>
          <a:lstStyle/>
          <a:p>
            <a:pPr eaLnBrk="1" hangingPunct="1"/>
            <a:r>
              <a:rPr lang="sl-SI" altLang="sl-SI" smtClean="0">
                <a:cs typeface="Arial" panose="020B0604020202020204" pitchFamily="34" charset="0"/>
              </a:rPr>
              <a:t> </a:t>
            </a:r>
            <a:endParaRPr lang="en-US" altLang="sl-SI" smtClean="0">
              <a:cs typeface="Arial" panose="020B0604020202020204" pitchFamily="34" charset="0"/>
            </a:endParaRPr>
          </a:p>
        </p:txBody>
      </p:sp>
      <p:sp>
        <p:nvSpPr>
          <p:cNvPr id="108547" name="TextBox 5"/>
          <p:cNvSpPr txBox="1">
            <a:spLocks noChangeArrowheads="1"/>
          </p:cNvSpPr>
          <p:nvPr/>
        </p:nvSpPr>
        <p:spPr bwMode="auto">
          <a:xfrm>
            <a:off x="685800" y="604838"/>
            <a:ext cx="4064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sl-SI" sz="24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108548" name="TextBox 7"/>
          <p:cNvSpPr txBox="1">
            <a:spLocks noChangeArrowheads="1"/>
          </p:cNvSpPr>
          <p:nvPr/>
        </p:nvSpPr>
        <p:spPr bwMode="auto">
          <a:xfrm>
            <a:off x="1331913" y="1281113"/>
            <a:ext cx="19161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sl-SI" altLang="sl-SI" sz="1800">
                <a:solidFill>
                  <a:srgbClr val="00000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</a:t>
            </a:r>
          </a:p>
        </p:txBody>
      </p:sp>
      <p:sp>
        <p:nvSpPr>
          <p:cNvPr id="60423" name="PoljeZBesedilom 8"/>
          <p:cNvSpPr txBox="1">
            <a:spLocks noChangeArrowheads="1"/>
          </p:cNvSpPr>
          <p:nvPr/>
        </p:nvSpPr>
        <p:spPr bwMode="auto">
          <a:xfrm>
            <a:off x="474663" y="2492375"/>
            <a:ext cx="4745037" cy="40322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Opis ukrepa</a:t>
            </a:r>
            <a:r>
              <a:rPr lang="sl-SI" altLang="sl-SI" sz="1600" b="1" dirty="0">
                <a:solidFill>
                  <a:srgbClr val="000000"/>
                </a:solidFill>
                <a:latin typeface="Arial" charset="0"/>
                <a:cs typeface="Arial" charset="0"/>
              </a:rPr>
              <a:t>: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ostavitev e-Trgovin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s ciljem prodaje v tujini in povečanjem obsega prodaje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ter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prisotnost na tujih trgih</a:t>
            </a:r>
            <a:endParaRPr lang="sl-SI" altLang="sl-SI" sz="16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algn="just">
              <a:defRPr/>
            </a:pPr>
            <a:r>
              <a:rPr lang="sl-SI" altLang="sl-SI" sz="16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edvidene aktivnosti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: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vetovanj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glede pravnega in logističnega okvirja postavitve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e-trgovine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svetovanj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pri postavitvi in uvedbi primernih aplikativnih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rešitev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iprava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ponudbe, cenikov, digitaliziranih opisov produktov in prodajnih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ocesov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riprava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vsebin (v različnih jezikih in prilagojene za različne ciljne skupine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)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ostavitev e-trgovine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izobraževanje </a:t>
            </a:r>
            <a:r>
              <a:rPr lang="sl-SI" altLang="sl-SI" sz="1600" dirty="0">
                <a:solidFill>
                  <a:srgbClr val="000000"/>
                </a:solidFill>
                <a:latin typeface="Arial" charset="0"/>
                <a:cs typeface="Arial" charset="0"/>
              </a:rPr>
              <a:t>in usposabljanje vezano na </a:t>
            </a:r>
            <a:r>
              <a:rPr lang="sl-SI" altLang="sl-SI" sz="16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aktivnost</a:t>
            </a:r>
            <a:endParaRPr lang="sl-SI" altLang="sl-SI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08550" name="PoljeZBesedilom 1"/>
          <p:cNvSpPr txBox="1">
            <a:spLocks noChangeArrowheads="1"/>
          </p:cNvSpPr>
          <p:nvPr/>
        </p:nvSpPr>
        <p:spPr bwMode="auto">
          <a:xfrm>
            <a:off x="971550" y="1389063"/>
            <a:ext cx="720090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sl-SI" altLang="sl-SI" b="1">
                <a:solidFill>
                  <a:srgbClr val="000000"/>
                </a:solidFill>
                <a:cs typeface="Arial" panose="020B0604020202020204" pitchFamily="34" charset="0"/>
              </a:rPr>
              <a:t>Ukrep 4: spletne trgovine</a:t>
            </a:r>
          </a:p>
        </p:txBody>
      </p:sp>
      <p:sp>
        <p:nvSpPr>
          <p:cNvPr id="108551" name="TextBox 7"/>
          <p:cNvSpPr txBox="1">
            <a:spLocks noChangeArrowheads="1"/>
          </p:cNvSpPr>
          <p:nvPr/>
        </p:nvSpPr>
        <p:spPr bwMode="auto">
          <a:xfrm>
            <a:off x="962025" y="708025"/>
            <a:ext cx="1379538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ct val="20000"/>
              </a:spcBef>
              <a:buChar char="•"/>
              <a:defRPr sz="2800">
                <a:solidFill>
                  <a:srgbClr val="606060"/>
                </a:solidFill>
                <a:latin typeface="Arial" panose="020B0604020202020204" pitchFamily="34" charset="0"/>
              </a:defRPr>
            </a:lvl1pPr>
            <a:lvl2pPr marL="742950" indent="-285750" defTabSz="457200">
              <a:spcBef>
                <a:spcPct val="20000"/>
              </a:spcBef>
              <a:buFont typeface="Arial" panose="020B0604020202020204" pitchFamily="34" charset="0"/>
              <a:buChar char="-"/>
              <a:defRPr sz="2400">
                <a:solidFill>
                  <a:srgbClr val="606060"/>
                </a:solidFill>
                <a:latin typeface="Arial" panose="020B0604020202020204" pitchFamily="34" charset="0"/>
              </a:defRPr>
            </a:lvl2pPr>
            <a:lvl3pPr marL="1143000" indent="-228600" defTabSz="457200">
              <a:spcBef>
                <a:spcPct val="20000"/>
              </a:spcBef>
              <a:buChar char="•"/>
              <a:defRPr sz="2000">
                <a:solidFill>
                  <a:srgbClr val="606060"/>
                </a:solidFill>
                <a:latin typeface="Arial" panose="020B0604020202020204" pitchFamily="34" charset="0"/>
              </a:defRPr>
            </a:lvl3pPr>
            <a:lvl4pPr marL="1600200" indent="-228600" defTabSz="457200">
              <a:spcBef>
                <a:spcPct val="20000"/>
              </a:spcBef>
              <a:buChar char="–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4pPr>
            <a:lvl5pPr marL="2057400" indent="-228600" defTabSz="457200">
              <a:spcBef>
                <a:spcPct val="20000"/>
              </a:spcBef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rgbClr val="606060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EPUBLIKA SLOVENIJA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en-US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MINISTRSTVO ZA </a:t>
            </a: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GOSPODARSKI </a:t>
            </a:r>
          </a:p>
          <a:p>
            <a:pPr eaLnBrk="1" hangingPunct="1">
              <a:lnSpc>
                <a:spcPts val="838"/>
              </a:lnSpc>
              <a:spcBef>
                <a:spcPct val="0"/>
              </a:spcBef>
              <a:buFontTx/>
              <a:buNone/>
            </a:pPr>
            <a:r>
              <a:rPr lang="sl-SI" altLang="sl-SI" sz="700" b="1">
                <a:solidFill>
                  <a:srgbClr val="000000"/>
                </a:solidFill>
                <a:latin typeface="Republika" pitchFamily="2" charset="-18"/>
                <a:cs typeface="Arial" panose="020B0604020202020204" pitchFamily="34" charset="0"/>
              </a:rPr>
              <a:t>RAZVOJ IN TEHNOLOGIJO</a:t>
            </a:r>
          </a:p>
        </p:txBody>
      </p:sp>
      <p:pic>
        <p:nvPicPr>
          <p:cNvPr id="108552" name="Picture 8" descr="grb moder za 10 pt.wmf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763" y="712788"/>
            <a:ext cx="166687" cy="20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553" name="Slika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1825" y="466725"/>
            <a:ext cx="161607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8554" name="Slika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7550" y="3141663"/>
            <a:ext cx="2519363" cy="251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7286540"/>
      </p:ext>
    </p:extLst>
  </p:cSld>
  <p:clrMapOvr>
    <a:masterClrMapping/>
  </p:clrMapOvr>
  <p:transition spd="slow" advClick="0" advTm="2000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4MWtp1zUe1qkANvQRZ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E70fAM7E6d3RDSz0ah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A.T. Kearney GENERAL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.T. Kearney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  <a:extLst>
    <a:ext uri="{05A4C25C-085E-4340-85A3-A5531E510DB2}">
      <thm15:themeFamily xmlns:thm15="http://schemas.microsoft.com/office/thememl/2012/main" name="Blank.potx" id="{1584AFEF-813F-4CCC-ADDA-A8D46F3C36B5}" vid="{C37F3330-E2D8-470B-875D-BDEA75C0975B}"/>
    </a:ext>
  </a:extLst>
</a:theme>
</file>

<file path=ppt/theme/theme3.xml><?xml version="1.0" encoding="utf-8"?>
<a:theme xmlns:a="http://schemas.openxmlformats.org/drawingml/2006/main" name="Officeova tema">
  <a:themeElements>
    <a:clrScheme name="Pisarn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isarn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</TotalTime>
  <Words>924</Words>
  <Application>Microsoft Office PowerPoint</Application>
  <PresentationFormat>Diaprojekcija na zaslonu (4:3)</PresentationFormat>
  <Paragraphs>202</Paragraphs>
  <Slides>15</Slides>
  <Notes>15</Notes>
  <HiddenSlides>0</HiddenSlides>
  <MMClips>0</MMClips>
  <ScaleCrop>false</ScaleCrop>
  <HeadingPairs>
    <vt:vector size="8" baseType="variant">
      <vt:variant>
        <vt:lpstr>Uporabljene pisave</vt:lpstr>
      </vt:variant>
      <vt:variant>
        <vt:i4>6</vt:i4>
      </vt:variant>
      <vt:variant>
        <vt:lpstr>Tema</vt:lpstr>
      </vt:variant>
      <vt:variant>
        <vt:i4>2</vt:i4>
      </vt:variant>
      <vt:variant>
        <vt:lpstr>Vdelani OLE strežniki</vt:lpstr>
      </vt:variant>
      <vt:variant>
        <vt:i4>1</vt:i4>
      </vt:variant>
      <vt:variant>
        <vt:lpstr>Naslovi diapozitivov</vt:lpstr>
      </vt:variant>
      <vt:variant>
        <vt:i4>15</vt:i4>
      </vt:variant>
    </vt:vector>
  </HeadingPairs>
  <TitlesOfParts>
    <vt:vector size="24" baseType="lpstr">
      <vt:lpstr>Arial</vt:lpstr>
      <vt:lpstr>Arial </vt:lpstr>
      <vt:lpstr>Calibri</vt:lpstr>
      <vt:lpstr>Calibri Light</vt:lpstr>
      <vt:lpstr>Republika</vt:lpstr>
      <vt:lpstr>Wingdings</vt:lpstr>
      <vt:lpstr>1_Office Theme</vt:lpstr>
      <vt:lpstr>Blank</vt:lpstr>
      <vt:lpstr>think-cell Slide</vt:lpstr>
      <vt:lpstr> </vt:lpstr>
      <vt:lpstr> Namen in cilj razpisa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PowerPointova predstavitev</vt:lpstr>
      <vt:lpstr> </vt:lpstr>
      <vt:lpstr> </vt:lpstr>
      <vt:lpstr>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cionalizacija produktov in storitev MSP na digitalni način</dc:title>
  <dc:creator>Info4 Gospodarska zbornica</dc:creator>
  <cp:lastModifiedBy>Info4 Gospodarska zbornica</cp:lastModifiedBy>
  <cp:revision>3</cp:revision>
  <dcterms:created xsi:type="dcterms:W3CDTF">2017-09-06T12:51:23Z</dcterms:created>
  <dcterms:modified xsi:type="dcterms:W3CDTF">2017-09-06T12:52:55Z</dcterms:modified>
</cp:coreProperties>
</file>